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drawings/drawing7.xml" ContentType="application/vnd.openxmlformats-officedocument.drawingml.chartshape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charts/chart27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charts/chart16.xml" ContentType="application/vnd.openxmlformats-officedocument.drawingml.chart+xml"/>
  <Override PartName="/ppt/charts/chart25.xml" ContentType="application/vnd.openxmlformats-officedocument.drawingml.chart+xml"/>
  <Override PartName="/ppt/diagrams/quickStyle1.xml" ContentType="application/vnd.openxmlformats-officedocument.drawingml.diagramStyle+xml"/>
  <Override PartName="/ppt/charts/chart34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charts/chart23.xml" ContentType="application/vnd.openxmlformats-officedocument.drawingml.chart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charts/chart30.xml" ContentType="application/vnd.openxmlformats-officedocument.drawingml.chart+xml"/>
  <Default Extension="wdp" ContentType="image/vnd.ms-photo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Default Extension="gif" ContentType="image/gif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0"/>
  </p:notesMasterIdLst>
  <p:sldIdLst>
    <p:sldId id="256" r:id="rId2"/>
    <p:sldId id="469" r:id="rId3"/>
    <p:sldId id="470" r:id="rId4"/>
    <p:sldId id="502" r:id="rId5"/>
    <p:sldId id="503" r:id="rId6"/>
    <p:sldId id="504" r:id="rId7"/>
    <p:sldId id="496" r:id="rId8"/>
    <p:sldId id="505" r:id="rId9"/>
    <p:sldId id="523" r:id="rId10"/>
    <p:sldId id="524" r:id="rId11"/>
    <p:sldId id="520" r:id="rId12"/>
    <p:sldId id="521" r:id="rId13"/>
    <p:sldId id="522" r:id="rId14"/>
    <p:sldId id="510" r:id="rId15"/>
    <p:sldId id="511" r:id="rId16"/>
    <p:sldId id="512" r:id="rId17"/>
    <p:sldId id="513" r:id="rId18"/>
    <p:sldId id="514" r:id="rId19"/>
    <p:sldId id="515" r:id="rId20"/>
    <p:sldId id="516" r:id="rId21"/>
    <p:sldId id="517" r:id="rId22"/>
    <p:sldId id="518" r:id="rId23"/>
    <p:sldId id="519" r:id="rId24"/>
    <p:sldId id="443" r:id="rId25"/>
    <p:sldId id="444" r:id="rId26"/>
    <p:sldId id="499" r:id="rId27"/>
    <p:sldId id="500" r:id="rId28"/>
    <p:sldId id="501" r:id="rId29"/>
    <p:sldId id="506" r:id="rId30"/>
    <p:sldId id="497" r:id="rId31"/>
    <p:sldId id="498" r:id="rId32"/>
    <p:sldId id="451" r:id="rId33"/>
    <p:sldId id="487" r:id="rId34"/>
    <p:sldId id="488" r:id="rId35"/>
    <p:sldId id="472" r:id="rId36"/>
    <p:sldId id="474" r:id="rId37"/>
    <p:sldId id="427" r:id="rId38"/>
    <p:sldId id="478" r:id="rId39"/>
    <p:sldId id="475" r:id="rId40"/>
    <p:sldId id="476" r:id="rId41"/>
    <p:sldId id="508" r:id="rId42"/>
    <p:sldId id="428" r:id="rId43"/>
    <p:sldId id="477" r:id="rId44"/>
    <p:sldId id="479" r:id="rId45"/>
    <p:sldId id="433" r:id="rId46"/>
    <p:sldId id="495" r:id="rId47"/>
    <p:sldId id="307" r:id="rId48"/>
    <p:sldId id="350" r:id="rId49"/>
    <p:sldId id="486" r:id="rId50"/>
    <p:sldId id="473" r:id="rId51"/>
    <p:sldId id="480" r:id="rId52"/>
    <p:sldId id="481" r:id="rId53"/>
    <p:sldId id="482" r:id="rId54"/>
    <p:sldId id="483" r:id="rId55"/>
    <p:sldId id="484" r:id="rId56"/>
    <p:sldId id="485" r:id="rId57"/>
    <p:sldId id="430" r:id="rId58"/>
    <p:sldId id="493" r:id="rId59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CC99"/>
    <a:srgbClr val="FFFFCC"/>
    <a:srgbClr val="99FFCC"/>
    <a:srgbClr val="FFCCCC"/>
    <a:srgbClr val="FF66FF"/>
    <a:srgbClr val="66CCFF"/>
    <a:srgbClr val="FFCCFF"/>
    <a:srgbClr val="CC00FF"/>
    <a:srgbClr val="CCCC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6896" autoAdjust="0"/>
    <p:restoredTop sz="99263" autoAdjust="0"/>
  </p:normalViewPr>
  <p:slideViewPr>
    <p:cSldViewPr>
      <p:cViewPr>
        <p:scale>
          <a:sx n="110" d="100"/>
          <a:sy n="110" d="100"/>
        </p:scale>
        <p:origin x="-1644" y="-2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0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34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892E-2"/>
          <c:y val="0.1302194814225715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аселение всего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4.1</c:v>
                </c:pt>
                <c:pt idx="1">
                  <c:v>54.3</c:v>
                </c:pt>
                <c:pt idx="2">
                  <c:v>54.3</c:v>
                </c:pt>
                <c:pt idx="3">
                  <c:v>54.5</c:v>
                </c:pt>
                <c:pt idx="4">
                  <c:v>54.7</c:v>
                </c:pt>
                <c:pt idx="5">
                  <c:v>54.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Численность населения трудоспособного возраста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1.3</c:v>
                </c:pt>
                <c:pt idx="1">
                  <c:v>31.3</c:v>
                </c:pt>
                <c:pt idx="2">
                  <c:v>31</c:v>
                </c:pt>
                <c:pt idx="3">
                  <c:v>31</c:v>
                </c:pt>
                <c:pt idx="4">
                  <c:v>31.05</c:v>
                </c:pt>
                <c:pt idx="5">
                  <c:v>31.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Численность населения старшего трудоспособного возраста </c:v>
                </c:pt>
              </c:strCache>
            </c:strRef>
          </c:tx>
          <c:spPr>
            <a:solidFill>
              <a:srgbClr val="3366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10</c:v>
                </c:pt>
                <c:pt idx="2">
                  <c:v>10.5</c:v>
                </c:pt>
                <c:pt idx="3">
                  <c:v>10.7</c:v>
                </c:pt>
                <c:pt idx="4">
                  <c:v>10.9</c:v>
                </c:pt>
                <c:pt idx="5">
                  <c:v>11.1</c:v>
                </c:pt>
              </c:numCache>
            </c:numRef>
          </c:val>
        </c:ser>
        <c:gapDepth val="0"/>
        <c:shape val="box"/>
        <c:axId val="82278272"/>
        <c:axId val="82279808"/>
        <c:axId val="0"/>
      </c:bar3DChart>
      <c:catAx>
        <c:axId val="822782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279808"/>
        <c:crosses val="autoZero"/>
        <c:auto val="1"/>
        <c:lblAlgn val="ctr"/>
        <c:lblOffset val="100"/>
        <c:tickLblSkip val="1"/>
        <c:tickMarkSkip val="1"/>
      </c:catAx>
      <c:valAx>
        <c:axId val="82279808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2278272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9.1730364015838728E-2"/>
          <c:y val="0.86068762784649055"/>
          <c:w val="0.86596949382761423"/>
          <c:h val="0.11234656539794764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527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еспечение электрической энергией, газом и  паром; кондинционирование воздуха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4.4</c:v>
                </c:pt>
                <c:pt idx="1">
                  <c:v>246.73</c:v>
                </c:pt>
                <c:pt idx="2">
                  <c:v>257.33</c:v>
                </c:pt>
                <c:pt idx="3">
                  <c:v>270.19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  <c:shape val="coneToMax"/>
        </c:ser>
        <c:gapDepth val="0"/>
        <c:shape val="coneToMax"/>
        <c:axId val="96839168"/>
        <c:axId val="96840704"/>
        <c:axId val="0"/>
      </c:bar3DChart>
      <c:catAx>
        <c:axId val="9683916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840704"/>
        <c:crosses val="autoZero"/>
        <c:auto val="1"/>
        <c:lblAlgn val="ctr"/>
        <c:lblOffset val="100"/>
        <c:tickLblSkip val="1"/>
        <c:tickMarkSkip val="1"/>
      </c:catAx>
      <c:valAx>
        <c:axId val="9684070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83916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622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66662959317585546"/>
          <c:h val="0.7546579665437666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Количество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14</c:v>
                </c:pt>
                <c:pt idx="1">
                  <c:v>1885</c:v>
                </c:pt>
                <c:pt idx="2">
                  <c:v>1885</c:v>
                </c:pt>
                <c:pt idx="3">
                  <c:v>1890</c:v>
                </c:pt>
                <c:pt idx="4">
                  <c:v>1899.45</c:v>
                </c:pt>
                <c:pt idx="5">
                  <c:v>1908.95</c:v>
                </c:pt>
              </c:numCache>
            </c:numRef>
          </c:val>
        </c:ser>
        <c:gapDepth val="0"/>
        <c:shape val="cylinder"/>
        <c:axId val="96926720"/>
        <c:axId val="96936704"/>
        <c:axId val="0"/>
      </c:bar3DChart>
      <c:catAx>
        <c:axId val="9692672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936704"/>
        <c:crosses val="autoZero"/>
        <c:auto val="1"/>
        <c:lblAlgn val="ctr"/>
        <c:lblOffset val="100"/>
        <c:tickLblSkip val="1"/>
        <c:tickMarkSkip val="1"/>
      </c:catAx>
      <c:valAx>
        <c:axId val="9693670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92672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.67080872703412275"/>
          <c:y val="0.30633035509080325"/>
          <c:w val="0.32763506124234565"/>
          <c:h val="0.36705694383225257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ленность работников малых и средних предприятий, включая микропредприятия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8</c:v>
                </c:pt>
                <c:pt idx="1">
                  <c:v>2.8</c:v>
                </c:pt>
                <c:pt idx="2">
                  <c:v>2.7</c:v>
                </c:pt>
                <c:pt idx="3">
                  <c:v>2.7</c:v>
                </c:pt>
                <c:pt idx="4">
                  <c:v>2.71</c:v>
                </c:pt>
                <c:pt idx="5">
                  <c:v>2.73</c:v>
                </c:pt>
              </c:numCache>
            </c:numRef>
          </c:val>
        </c:ser>
        <c:gapDepth val="0"/>
        <c:shape val="box"/>
        <c:axId val="96974720"/>
        <c:axId val="96976256"/>
        <c:axId val="0"/>
      </c:bar3DChart>
      <c:catAx>
        <c:axId val="9697472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976256"/>
        <c:crosses val="autoZero"/>
        <c:auto val="1"/>
        <c:lblAlgn val="ctr"/>
        <c:lblOffset val="100"/>
        <c:tickLblSkip val="1"/>
        <c:tickMarkSkip val="1"/>
      </c:catAx>
      <c:valAx>
        <c:axId val="9697625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97472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71"/>
          <c:w val="0.99985717410323649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орот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.21</c:v>
                </c:pt>
                <c:pt idx="1">
                  <c:v>2.19</c:v>
                </c:pt>
                <c:pt idx="2">
                  <c:v>2.2000000000000002</c:v>
                </c:pt>
                <c:pt idx="3">
                  <c:v>2.21</c:v>
                </c:pt>
                <c:pt idx="4">
                  <c:v>2.2200000000000002</c:v>
                </c:pt>
                <c:pt idx="5">
                  <c:v>2.23</c:v>
                </c:pt>
              </c:numCache>
            </c:numRef>
          </c:val>
        </c:ser>
        <c:gapDepth val="0"/>
        <c:shape val="cylinder"/>
        <c:axId val="97051392"/>
        <c:axId val="98353920"/>
        <c:axId val="0"/>
      </c:bar3DChart>
      <c:catAx>
        <c:axId val="9705139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353920"/>
        <c:crosses val="autoZero"/>
        <c:auto val="1"/>
        <c:lblAlgn val="ctr"/>
        <c:lblOffset val="100"/>
        <c:tickLblSkip val="1"/>
        <c:tickMarkSkip val="1"/>
      </c:catAx>
      <c:valAx>
        <c:axId val="9835392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705139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3.0555555555555582E-2"/>
          <c:y val="0.8313914534591571"/>
          <c:w val="0.96930161854768293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75E-2"/>
          <c:y val="3.8166961006404231E-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оминальная начисленная среднемесячная заработная плата работников организац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1770</c:v>
                </c:pt>
                <c:pt idx="1">
                  <c:v>22548.799999999996</c:v>
                </c:pt>
                <c:pt idx="2">
                  <c:v>23856.6</c:v>
                </c:pt>
                <c:pt idx="3">
                  <c:v>24920</c:v>
                </c:pt>
                <c:pt idx="4">
                  <c:v>25900</c:v>
                </c:pt>
                <c:pt idx="5">
                  <c:v>270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Среднемесячный доход от трудовой деятельности</c:v>
                </c:pt>
              </c:strCache>
            </c:strRef>
          </c:tx>
          <c:spPr>
            <a:solidFill>
              <a:srgbClr val="FF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1600</c:v>
                </c:pt>
                <c:pt idx="1">
                  <c:v>22440</c:v>
                </c:pt>
                <c:pt idx="2">
                  <c:v>23960</c:v>
                </c:pt>
                <c:pt idx="3">
                  <c:v>25028.01</c:v>
                </c:pt>
                <c:pt idx="4">
                  <c:v>26012.260000000009</c:v>
                </c:pt>
                <c:pt idx="5">
                  <c:v>27167.24</c:v>
                </c:pt>
              </c:numCache>
            </c:numRef>
          </c:val>
        </c:ser>
        <c:gapDepth val="0"/>
        <c:shape val="box"/>
        <c:axId val="101046528"/>
        <c:axId val="101052416"/>
        <c:axId val="0"/>
      </c:bar3DChart>
      <c:catAx>
        <c:axId val="1010465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052416"/>
        <c:crosses val="autoZero"/>
        <c:auto val="1"/>
        <c:lblAlgn val="ctr"/>
        <c:lblOffset val="100"/>
        <c:tickLblSkip val="1"/>
        <c:tickMarkSkip val="1"/>
      </c:catAx>
      <c:valAx>
        <c:axId val="101052416"/>
        <c:scaling>
          <c:orientation val="minMax"/>
          <c:max val="30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046528"/>
        <c:crosses val="autoZero"/>
        <c:crossBetween val="between"/>
        <c:majorUnit val="5000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73947398560729938"/>
          <c:w val="0.92306137928375986"/>
          <c:h val="0.19904439280681657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17E-2"/>
          <c:y val="1.5338825275063726E-2"/>
          <c:w val="0.92073832790445154"/>
          <c:h val="0.77449466367237896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сленность работников организаций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6088</c:v>
                </c:pt>
                <c:pt idx="1">
                  <c:v>6110</c:v>
                </c:pt>
                <c:pt idx="2">
                  <c:v>6155</c:v>
                </c:pt>
                <c:pt idx="3">
                  <c:v>6170</c:v>
                </c:pt>
                <c:pt idx="4">
                  <c:v>6180</c:v>
                </c:pt>
                <c:pt idx="5">
                  <c:v>6180</c:v>
                </c:pt>
              </c:numCache>
            </c:numRef>
          </c:val>
          <c:shape val="cylinder"/>
        </c:ser>
        <c:gapDepth val="0"/>
        <c:shape val="box"/>
        <c:axId val="101148928"/>
        <c:axId val="101167104"/>
        <c:axId val="0"/>
      </c:bar3DChart>
      <c:catAx>
        <c:axId val="1011489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167104"/>
        <c:crosses val="autoZero"/>
        <c:auto val="1"/>
        <c:lblAlgn val="ctr"/>
        <c:lblOffset val="100"/>
        <c:tickLblSkip val="1"/>
        <c:tickMarkSkip val="1"/>
      </c:catAx>
      <c:valAx>
        <c:axId val="101167104"/>
        <c:scaling>
          <c:orientation val="minMax"/>
          <c:max val="7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148928"/>
        <c:crosses val="autoZero"/>
        <c:crossBetween val="between"/>
        <c:majorUnit val="1000"/>
        <c:minorUnit val="5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675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72E-2"/>
          <c:y val="1.5338825275063731E-2"/>
          <c:w val="0.92073832790445154"/>
          <c:h val="0.91770223830454523"/>
        </c:manualLayout>
      </c:layout>
      <c:bar3D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Общая численность безработных граждан</c:v>
                </c:pt>
              </c:strCache>
            </c:strRef>
          </c:tx>
          <c:spPr>
            <a:solidFill>
              <a:srgbClr val="FFCC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.6</c:v>
                </c:pt>
                <c:pt idx="1">
                  <c:v>7.6199999999999966</c:v>
                </c:pt>
                <c:pt idx="2">
                  <c:v>7.5</c:v>
                </c:pt>
                <c:pt idx="3">
                  <c:v>7.45</c:v>
                </c:pt>
                <c:pt idx="4">
                  <c:v>7.4</c:v>
                </c:pt>
                <c:pt idx="5">
                  <c:v>7.35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численность безработных, зараегистрированных в службе занятости населения (на конец года)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0.68</c:v>
                </c:pt>
                <c:pt idx="1">
                  <c:v>0.65000000000000135</c:v>
                </c:pt>
                <c:pt idx="2">
                  <c:v>0.60000000000000064</c:v>
                </c:pt>
                <c:pt idx="3">
                  <c:v>0.59</c:v>
                </c:pt>
                <c:pt idx="4">
                  <c:v>0.58000000000000007</c:v>
                </c:pt>
                <c:pt idx="5">
                  <c:v>0.56999999999999995</c:v>
                </c:pt>
              </c:numCache>
            </c:numRef>
          </c:val>
        </c:ser>
        <c:gapDepth val="0"/>
        <c:shape val="box"/>
        <c:axId val="101228928"/>
        <c:axId val="101230464"/>
        <c:axId val="0"/>
      </c:bar3DChart>
      <c:catAx>
        <c:axId val="1012289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230464"/>
        <c:crosses val="autoZero"/>
        <c:auto val="1"/>
        <c:lblAlgn val="ctr"/>
        <c:lblOffset val="100"/>
        <c:tickLblSkip val="1"/>
        <c:tickMarkSkip val="1"/>
      </c:catAx>
      <c:valAx>
        <c:axId val="101230464"/>
        <c:scaling>
          <c:orientation val="minMax"/>
          <c:max val="1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01228928"/>
        <c:crosses val="autoZero"/>
        <c:crossBetween val="between"/>
        <c:majorUnit val="1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5442971527758482"/>
          <c:w val="1"/>
          <c:h val="0.14556999309424523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72E-2"/>
          <c:y val="1.5338825275063731E-2"/>
          <c:w val="0.92073832790445154"/>
          <c:h val="0.774494663672379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Фонд заработной платы работников организаций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90.4</c:v>
                </c:pt>
                <c:pt idx="1">
                  <c:v>1653.3</c:v>
                </c:pt>
                <c:pt idx="2">
                  <c:v>1750</c:v>
                </c:pt>
                <c:pt idx="3">
                  <c:v>1828.01</c:v>
                </c:pt>
                <c:pt idx="4">
                  <c:v>1899.8899999999999</c:v>
                </c:pt>
                <c:pt idx="5">
                  <c:v>1984.25</c:v>
                </c:pt>
              </c:numCache>
            </c:numRef>
          </c:val>
        </c:ser>
        <c:gapDepth val="0"/>
        <c:shape val="box"/>
        <c:axId val="97052544"/>
        <c:axId val="98356224"/>
        <c:axId val="0"/>
      </c:bar3DChart>
      <c:catAx>
        <c:axId val="9705254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356224"/>
        <c:crosses val="autoZero"/>
        <c:auto val="1"/>
        <c:lblAlgn val="ctr"/>
        <c:lblOffset val="100"/>
        <c:tickLblSkip val="1"/>
        <c:tickMarkSkip val="1"/>
      </c:catAx>
      <c:valAx>
        <c:axId val="98356224"/>
        <c:scaling>
          <c:orientation val="minMax"/>
          <c:max val="2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7052544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708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40"/>
      <c:rotY val="7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способного населения </c:v>
                </c:pt>
              </c:strCache>
            </c:strRef>
          </c:tx>
          <c:spPr>
            <a:solidFill>
              <a:srgbClr val="00B0F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669</c:v>
                </c:pt>
                <c:pt idx="1">
                  <c:v>8766</c:v>
                </c:pt>
                <c:pt idx="2">
                  <c:v>9324</c:v>
                </c:pt>
                <c:pt idx="3">
                  <c:v>9790.2000000000007</c:v>
                </c:pt>
                <c:pt idx="4">
                  <c:v>10279.709999999985</c:v>
                </c:pt>
                <c:pt idx="5">
                  <c:v>10824.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нсионеров</c:v>
                </c:pt>
              </c:strCache>
            </c:strRef>
          </c:tx>
          <c:spPr>
            <a:solidFill>
              <a:srgbClr val="FFC00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56</c:v>
                </c:pt>
                <c:pt idx="1">
                  <c:v>6707</c:v>
                </c:pt>
                <c:pt idx="2">
                  <c:v>7118</c:v>
                </c:pt>
                <c:pt idx="3">
                  <c:v>7473.9</c:v>
                </c:pt>
                <c:pt idx="4">
                  <c:v>7847.6</c:v>
                </c:pt>
                <c:pt idx="5">
                  <c:v>8263.5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тей 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8309</c:v>
                </c:pt>
                <c:pt idx="1">
                  <c:v>8484</c:v>
                </c:pt>
                <c:pt idx="2">
                  <c:v>9154</c:v>
                </c:pt>
                <c:pt idx="3">
                  <c:v>9611</c:v>
                </c:pt>
                <c:pt idx="4">
                  <c:v>10092.290000000006</c:v>
                </c:pt>
                <c:pt idx="5">
                  <c:v>10627.18</c:v>
                </c:pt>
              </c:numCache>
            </c:numRef>
          </c:val>
        </c:ser>
        <c:shape val="box"/>
        <c:axId val="101264768"/>
        <c:axId val="82363520"/>
        <c:axId val="0"/>
      </c:bar3DChart>
      <c:dateAx>
        <c:axId val="101264768"/>
        <c:scaling>
          <c:orientation val="minMax"/>
        </c:scaling>
        <c:axPos val="b"/>
        <c:numFmt formatCode="General" sourceLinked="1"/>
        <c:tickLblPos val="nextTo"/>
        <c:crossAx val="82363520"/>
        <c:crosses val="autoZero"/>
        <c:lblOffset val="100"/>
        <c:baseTimeUnit val="days"/>
      </c:dateAx>
      <c:valAx>
        <c:axId val="82363520"/>
        <c:scaling>
          <c:orientation val="minMax"/>
        </c:scaling>
        <c:axPos val="l"/>
        <c:majorGridlines/>
        <c:numFmt formatCode="General" sourceLinked="1"/>
        <c:tickLblPos val="nextTo"/>
        <c:crossAx val="101264768"/>
        <c:crossesAt val="1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792E-2"/>
          <c:y val="0.1323601720492602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покупка товаров </c:v>
                </c:pt>
              </c:strCache>
            </c:strRef>
          </c:tx>
          <c:spPr>
            <a:solidFill>
              <a:srgbClr val="66CCFF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844.7300000000005</c:v>
                </c:pt>
                <c:pt idx="1">
                  <c:v>5036.5200000000004</c:v>
                </c:pt>
                <c:pt idx="2">
                  <c:v>5410.85</c:v>
                </c:pt>
                <c:pt idx="3">
                  <c:v>5681.39</c:v>
                </c:pt>
                <c:pt idx="4">
                  <c:v>5965.46</c:v>
                </c:pt>
                <c:pt idx="5">
                  <c:v>6281.6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купка услуг</c:v>
                </c:pt>
              </c:strCache>
            </c:strRef>
          </c:tx>
          <c:spPr>
            <a:solidFill>
              <a:srgbClr val="FFC000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53.1799999999998</c:v>
                </c:pt>
                <c:pt idx="1">
                  <c:v>1406.76</c:v>
                </c:pt>
                <c:pt idx="2">
                  <c:v>1511.31</c:v>
                </c:pt>
                <c:pt idx="3">
                  <c:v>1586.8799999999999</c:v>
                </c:pt>
                <c:pt idx="4">
                  <c:v>1666.22</c:v>
                </c:pt>
                <c:pt idx="5">
                  <c:v>1754.5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1503.54</c:v>
                </c:pt>
                <c:pt idx="1">
                  <c:v>1563.06</c:v>
                </c:pt>
                <c:pt idx="2">
                  <c:v>1679.23</c:v>
                </c:pt>
                <c:pt idx="3">
                  <c:v>1763.1899999999998</c:v>
                </c:pt>
                <c:pt idx="4">
                  <c:v>1851.35</c:v>
                </c:pt>
                <c:pt idx="5">
                  <c:v>1949.4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обязательные платежи и разнообразные взносы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643.17999999999995</c:v>
                </c:pt>
                <c:pt idx="1">
                  <c:v>668.64</c:v>
                </c:pt>
                <c:pt idx="2">
                  <c:v>718.33999999999946</c:v>
                </c:pt>
                <c:pt idx="3">
                  <c:v>754.26</c:v>
                </c:pt>
                <c:pt idx="4">
                  <c:v>791.97</c:v>
                </c:pt>
                <c:pt idx="5">
                  <c:v>833.93999999999949</c:v>
                </c:pt>
              </c:numCache>
            </c:numRef>
          </c:val>
        </c:ser>
        <c:gapDepth val="0"/>
        <c:shape val="box"/>
        <c:axId val="51204480"/>
        <c:axId val="51206016"/>
        <c:axId val="0"/>
      </c:bar3DChart>
      <c:catAx>
        <c:axId val="5120448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51206016"/>
        <c:crosses val="autoZero"/>
        <c:auto val="1"/>
        <c:lblAlgn val="ctr"/>
        <c:lblOffset val="100"/>
        <c:tickLblSkip val="1"/>
        <c:tickMarkSkip val="1"/>
      </c:catAx>
      <c:valAx>
        <c:axId val="51206016"/>
        <c:scaling>
          <c:orientation val="minMax"/>
          <c:max val="6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51204480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190536599591657"/>
          <c:w val="0.9997048337707799"/>
          <c:h val="0.1780946340040829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hPercent val="48"/>
      <c:rotY val="6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48E-2"/>
          <c:y val="0.12165639806711756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Ожидаемая продолжительность жизни при рождении  (число лет)</c:v>
                </c:pt>
              </c:strCache>
            </c:strRef>
          </c:tx>
          <c:spPr>
            <a:solidFill>
              <a:srgbClr val="00B050"/>
            </a:solidFill>
            <a:ln w="12727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409457046054611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ru-RU" dirty="0" smtClean="0"/>
                      <a:t>71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2.7118645591669228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3.9964207433700646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3"/>
              <c:layout>
                <c:manualLayout>
                  <c:x val="3.1400537000880094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4"/>
              <c:layout>
                <c:manualLayout>
                  <c:x val="3.5682428410091012E-2"/>
                  <c:y val="-3.6363520675986097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sz="1800" dirty="0" smtClean="0"/>
                      <a:t>7</a:t>
                    </a:r>
                    <a:r>
                      <a:rPr lang="ru-RU" sz="1800" dirty="0" smtClean="0"/>
                      <a:t>1,1</a:t>
                    </a:r>
                    <a:endParaRPr lang="en-US" sz="1800" dirty="0"/>
                  </a:p>
                </c:rich>
              </c:tx>
              <c:spPr/>
              <c:showVal val="1"/>
            </c:dLbl>
            <c:dLbl>
              <c:idx val="5"/>
              <c:layout>
                <c:manualLayout>
                  <c:x val="3.8537022682898298E-2"/>
                  <c:y val="-3.4343325082875839E-2"/>
                </c:manualLayout>
              </c:layout>
              <c:spPr/>
              <c:txPr>
                <a:bodyPr/>
                <a:lstStyle/>
                <a:p>
                  <a:pPr>
                    <a:defRPr sz="1800"/>
                  </a:pPr>
                  <a:endParaRPr lang="ru-RU"/>
                </a:p>
              </c:txPr>
              <c:showVal val="1"/>
            </c:dLbl>
            <c:showVal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1</c:v>
                </c:pt>
                <c:pt idx="1">
                  <c:v>71</c:v>
                </c:pt>
                <c:pt idx="2">
                  <c:v>71</c:v>
                </c:pt>
                <c:pt idx="3">
                  <c:v>71</c:v>
                </c:pt>
                <c:pt idx="4">
                  <c:v>71.099999999999994</c:v>
                </c:pt>
                <c:pt idx="5">
                  <c:v>71.5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ий коэффициентрождаемости (число родившихся на 1000 человек населения)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4.2</c:v>
                </c:pt>
                <c:pt idx="1">
                  <c:v>13.3</c:v>
                </c:pt>
                <c:pt idx="2">
                  <c:v>10.6</c:v>
                </c:pt>
                <c:pt idx="3">
                  <c:v>10</c:v>
                </c:pt>
                <c:pt idx="4">
                  <c:v>10.200000000000001</c:v>
                </c:pt>
                <c:pt idx="5">
                  <c:v>10.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Общий коэффициент смертности (число умерших на 1000 человек населения)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9</c:v>
                </c:pt>
                <c:pt idx="1">
                  <c:v>8.7000000000000011</c:v>
                </c:pt>
                <c:pt idx="2">
                  <c:v>10</c:v>
                </c:pt>
                <c:pt idx="3">
                  <c:v>10</c:v>
                </c:pt>
                <c:pt idx="4">
                  <c:v>9.8000000000000007</c:v>
                </c:pt>
                <c:pt idx="5">
                  <c:v>9.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Коэффициент естественного прироста населения (на 1000 человек населения)</c:v>
                </c:pt>
              </c:strCache>
            </c:strRef>
          </c:tx>
          <c:spPr>
            <a:solidFill>
              <a:srgbClr val="66CC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4.3</c:v>
                </c:pt>
                <c:pt idx="1">
                  <c:v>4.5999999999999996</c:v>
                </c:pt>
                <c:pt idx="2">
                  <c:v>0.60000000000000064</c:v>
                </c:pt>
                <c:pt idx="3">
                  <c:v>1</c:v>
                </c:pt>
                <c:pt idx="4">
                  <c:v>1.1000000000000001</c:v>
                </c:pt>
                <c:pt idx="5">
                  <c:v>1.2</c:v>
                </c:pt>
              </c:numCache>
            </c:numRef>
          </c:val>
        </c:ser>
        <c:gapDepth val="0"/>
        <c:shape val="cone"/>
        <c:axId val="84093184"/>
        <c:axId val="84119552"/>
        <c:axId val="0"/>
      </c:bar3DChart>
      <c:catAx>
        <c:axId val="8409318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119552"/>
        <c:crosses val="autoZero"/>
        <c:auto val="1"/>
        <c:lblAlgn val="ctr"/>
        <c:lblOffset val="100"/>
        <c:tickLblSkip val="1"/>
        <c:tickMarkSkip val="1"/>
      </c:catAx>
      <c:valAx>
        <c:axId val="84119552"/>
        <c:scaling>
          <c:orientation val="minMax"/>
          <c:max val="75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093184"/>
        <c:crosses val="autoZero"/>
        <c:crossBetween val="between"/>
        <c:majorUnit val="10"/>
        <c:minorUnit val="1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0512891074871362"/>
          <c:w val="0.93157413903919561"/>
          <c:h val="0.13480097096644886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299081364829397"/>
          <c:y val="3.0320942936982925E-2"/>
          <c:w val="0.85645363079615067"/>
          <c:h val="0.816489152883450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Больничными койками на 10 тыс. населения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.33</c:v>
                </c:pt>
                <c:pt idx="1">
                  <c:v>40.190000000000012</c:v>
                </c:pt>
                <c:pt idx="2">
                  <c:v>39.96</c:v>
                </c:pt>
                <c:pt idx="3">
                  <c:v>40.04</c:v>
                </c:pt>
                <c:pt idx="4">
                  <c:v>39.89</c:v>
                </c:pt>
                <c:pt idx="5">
                  <c:v>39.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едоступными библиотеками на 100 тыс. населения</c:v>
                </c:pt>
              </c:strCache>
            </c:strRef>
          </c:tx>
          <c:spPr>
            <a:solidFill>
              <a:srgbClr val="00B0F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0.190000000000012</c:v>
                </c:pt>
                <c:pt idx="1">
                  <c:v>50</c:v>
                </c:pt>
                <c:pt idx="2">
                  <c:v>49.720000000000013</c:v>
                </c:pt>
                <c:pt idx="3">
                  <c:v>49.82</c:v>
                </c:pt>
                <c:pt idx="4">
                  <c:v>49.63</c:v>
                </c:pt>
                <c:pt idx="5">
                  <c:v>49.45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чреждениями культурно-досугового типа на 100 тыс. населения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52.04</c:v>
                </c:pt>
                <c:pt idx="1">
                  <c:v>51.85</c:v>
                </c:pt>
                <c:pt idx="2">
                  <c:v>51.57</c:v>
                </c:pt>
                <c:pt idx="3">
                  <c:v>51.660000000000011</c:v>
                </c:pt>
                <c:pt idx="4">
                  <c:v>51.47</c:v>
                </c:pt>
                <c:pt idx="5">
                  <c:v>51.28</c:v>
                </c:pt>
              </c:numCache>
            </c:numRef>
          </c:val>
        </c:ser>
        <c:gapDepth val="0"/>
        <c:shape val="box"/>
        <c:axId val="51240960"/>
        <c:axId val="51242496"/>
        <c:axId val="0"/>
      </c:bar3DChart>
      <c:catAx>
        <c:axId val="512409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242496"/>
        <c:crosses val="autoZero"/>
        <c:auto val="1"/>
        <c:lblAlgn val="ctr"/>
        <c:lblOffset val="100"/>
        <c:tickLblSkip val="1"/>
        <c:tickMarkSkip val="1"/>
      </c:catAx>
      <c:valAx>
        <c:axId val="51242496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240960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1.5840769903762073E-2"/>
          <c:y val="0.87755198047407779"/>
          <c:w val="0.98263626421697259"/>
          <c:h val="0.12244801952592355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2.9929415170855986E-2"/>
          <c:w val="0.92073832790445154"/>
          <c:h val="0.774494663672379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школьными образовательными учреждениями (мест на 1000 детей в возрасте 1-6 лет)</c:v>
                </c:pt>
              </c:strCache>
            </c:strRef>
          </c:tx>
          <c:spPr>
            <a:solidFill>
              <a:srgbClr val="99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19.45999999999947</c:v>
                </c:pt>
                <c:pt idx="1">
                  <c:v>539.70000000000005</c:v>
                </c:pt>
                <c:pt idx="2">
                  <c:v>543</c:v>
                </c:pt>
                <c:pt idx="3">
                  <c:v>548.42999999999938</c:v>
                </c:pt>
                <c:pt idx="4">
                  <c:v>551.16999999999996</c:v>
                </c:pt>
                <c:pt idx="5">
                  <c:v>553.92999999999938</c:v>
                </c:pt>
              </c:numCache>
            </c:numRef>
          </c:val>
        </c:ser>
        <c:gapDepth val="0"/>
        <c:shape val="box"/>
        <c:axId val="51133056"/>
        <c:axId val="51151232"/>
        <c:axId val="0"/>
      </c:bar3DChart>
      <c:catAx>
        <c:axId val="5113305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151232"/>
        <c:crosses val="autoZero"/>
        <c:auto val="1"/>
        <c:lblAlgn val="ctr"/>
        <c:lblOffset val="100"/>
        <c:tickLblSkip val="1"/>
        <c:tickMarkSkip val="1"/>
      </c:catAx>
      <c:valAx>
        <c:axId val="51151232"/>
        <c:scaling>
          <c:orientation val="minMax"/>
          <c:max val="55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133056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708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0.13659623366014631"/>
          <c:w val="0.92073832790445154"/>
          <c:h val="0.74288966325171535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Численность детей в дошкольных общеобразовательных учреждениях</c:v>
                </c:pt>
              </c:strCache>
            </c:strRef>
          </c:tx>
          <c:spPr>
            <a:solidFill>
              <a:srgbClr val="FFC0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15</c:v>
                </c:pt>
                <c:pt idx="1">
                  <c:v>2405</c:v>
                </c:pt>
                <c:pt idx="2">
                  <c:v>2405</c:v>
                </c:pt>
                <c:pt idx="3">
                  <c:v>2424</c:v>
                </c:pt>
                <c:pt idx="4">
                  <c:v>2430</c:v>
                </c:pt>
                <c:pt idx="5">
                  <c:v>2438</c:v>
                </c:pt>
              </c:numCache>
            </c:numRef>
          </c:val>
          <c:shape val="cylinder"/>
        </c:ser>
        <c:gapDepth val="0"/>
        <c:shape val="box"/>
        <c:axId val="51273728"/>
        <c:axId val="51275264"/>
        <c:axId val="0"/>
      </c:bar3DChart>
      <c:catAx>
        <c:axId val="512737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275264"/>
        <c:crosses val="autoZero"/>
        <c:auto val="1"/>
        <c:lblAlgn val="ctr"/>
        <c:lblOffset val="100"/>
        <c:tickLblSkip val="1"/>
        <c:tickMarkSkip val="1"/>
      </c:catAx>
      <c:valAx>
        <c:axId val="51275264"/>
        <c:scaling>
          <c:orientation val="minMax"/>
          <c:max val="2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1273728"/>
        <c:crosses val="autoZero"/>
        <c:crossBetween val="between"/>
        <c:majorUnit val="500"/>
        <c:minorUnit val="50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2.2222222222222251E-2"/>
          <c:w val="0.99938119932874747"/>
          <c:h val="0.1039378827646544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8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9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1428571428571433E-2"/>
          <c:y val="2.0642201834862386E-2"/>
          <c:w val="0.72714285714285765"/>
          <c:h val="0.7798165137614639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CCFFCC"/>
            </a:solidFill>
            <a:ln w="19050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налоговые и неналоговые</c:v>
                </c:pt>
              </c:strCache>
            </c:strRef>
          </c:tx>
          <c:spPr>
            <a:solidFill>
              <a:srgbClr val="CCCCFF"/>
            </a:solidFill>
            <a:ln w="16915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174364.27000000011</c:v>
                </c:pt>
                <c:pt idx="1">
                  <c:v>208589.83</c:v>
                </c:pt>
                <c:pt idx="2">
                  <c:v>215007.25</c:v>
                </c:pt>
                <c:pt idx="3">
                  <c:v>210613.74000000011</c:v>
                </c:pt>
              </c:numCache>
            </c:numRef>
          </c:val>
        </c:ser>
        <c:gapWidth val="57"/>
        <c:gapDepth val="0"/>
        <c:shape val="box"/>
        <c:axId val="162154752"/>
        <c:axId val="162156544"/>
        <c:axId val="0"/>
      </c:bar3DChart>
      <c:catAx>
        <c:axId val="162154752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564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2156544"/>
        <c:crosses val="autoZero"/>
        <c:auto val="1"/>
        <c:lblAlgn val="ctr"/>
        <c:lblOffset val="100"/>
        <c:tickLblSkip val="1"/>
        <c:tickMarkSkip val="1"/>
      </c:catAx>
      <c:valAx>
        <c:axId val="162156544"/>
        <c:scaling>
          <c:orientation val="minMax"/>
          <c:min val="6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99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2154752"/>
        <c:crosses val="autoZero"/>
        <c:crossBetween val="between"/>
        <c:majorUnit val="100000"/>
        <c:minorUnit val="100000"/>
      </c:valAx>
      <c:spPr>
        <a:noFill/>
        <a:ln w="33831">
          <a:noFill/>
        </a:ln>
      </c:spPr>
    </c:plotArea>
    <c:legend>
      <c:legendPos val="r"/>
      <c:layout>
        <c:manualLayout>
          <c:xMode val="edge"/>
          <c:yMode val="edge"/>
          <c:x val="0.1142857142857155"/>
          <c:y val="0.89220183486239013"/>
          <c:w val="0.79571428571428549"/>
          <c:h val="8.4862385321101047E-2"/>
        </c:manualLayout>
      </c:layout>
      <c:spPr>
        <a:noFill/>
        <a:ln w="33831">
          <a:noFill/>
        </a:ln>
      </c:spPr>
      <c:txPr>
        <a:bodyPr/>
        <a:lstStyle/>
        <a:p>
          <a:pPr>
            <a:defRPr sz="2204" b="0" i="0" u="none" strike="noStrike" baseline="0">
              <a:solidFill>
                <a:schemeClr val="tx1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6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9.8083698113139564E-2"/>
          <c:w val="0.9541666666666665"/>
          <c:h val="0.90191639531167755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99CCFF"/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208589.8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93866.72</c:v>
                </c:pt>
              </c:numCache>
            </c:numRef>
          </c:val>
        </c:ser>
        <c:overlap val="100"/>
        <c:axId val="162621312"/>
        <c:axId val="162622848"/>
      </c:barChart>
      <c:catAx>
        <c:axId val="162621312"/>
        <c:scaling>
          <c:orientation val="minMax"/>
        </c:scaling>
        <c:delete val="1"/>
        <c:axPos val="l"/>
        <c:tickLblPos val="nextTo"/>
        <c:crossAx val="162622848"/>
        <c:crosses val="autoZero"/>
        <c:auto val="1"/>
        <c:lblAlgn val="ctr"/>
        <c:lblOffset val="100"/>
      </c:catAx>
      <c:valAx>
        <c:axId val="162622848"/>
        <c:scaling>
          <c:orientation val="minMax"/>
        </c:scaling>
        <c:delete val="1"/>
        <c:axPos val="b"/>
        <c:numFmt formatCode="General" sourceLinked="1"/>
        <c:tickLblPos val="nextTo"/>
        <c:crossAx val="162621312"/>
        <c:crosses val="autoZero"/>
        <c:crossBetween val="between"/>
      </c:valAx>
      <c:spPr>
        <a:ln>
          <a:noFill/>
        </a:ln>
      </c:spPr>
    </c:plotArea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20"/>
      <c:perspective val="30"/>
    </c:view3D>
    <c:plotArea>
      <c:layout>
        <c:manualLayout>
          <c:layoutTarget val="inner"/>
          <c:xMode val="edge"/>
          <c:yMode val="edge"/>
          <c:x val="8.1497036428138589E-2"/>
          <c:y val="7.8369877579171229E-2"/>
          <c:w val="0.7953397291684694"/>
          <c:h val="0.5694345939421805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9999FF"/>
            </a:solidFill>
            <a:ln w="12686">
              <a:solidFill>
                <a:srgbClr val="000000"/>
              </a:solidFill>
              <a:prstDash val="solid"/>
            </a:ln>
          </c:spPr>
          <c:explosion val="27"/>
          <c:dPt>
            <c:idx val="0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CC99FF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4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00B050"/>
              </a:solidFill>
            </c:spPr>
          </c:dPt>
          <c:dPt>
            <c:idx val="8"/>
            <c:spPr>
              <a:solidFill>
                <a:srgbClr val="FF6699"/>
              </a:solidFill>
            </c:spPr>
          </c:dPt>
          <c:dLbls>
            <c:dLbl>
              <c:idx val="0"/>
              <c:layout>
                <c:manualLayout>
                  <c:x val="-0.18729222549104643"/>
                  <c:y val="2.6374504281855282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b="1" dirty="0" smtClean="0"/>
                      <a:t>66,7</a:t>
                    </a:r>
                    <a:endParaRPr lang="en-US" b="1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"/>
              <c:layout>
                <c:manualLayout>
                  <c:x val="2.0436531971965051E-2"/>
                  <c:y val="-0.12392177711362791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2"/>
              <c:layout>
                <c:manualLayout>
                  <c:x val="3.9196084864391939E-2"/>
                  <c:y val="-9.579819189268026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3"/>
              <c:layout>
                <c:manualLayout>
                  <c:x val="4.8484470691163614E-2"/>
                  <c:y val="-5.4231991834354523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4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4"/>
              <c:layout>
                <c:manualLayout>
                  <c:x val="6.0413495188102365E-2"/>
                  <c:y val="-1.4248906386701654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5"/>
              <c:layout>
                <c:manualLayout>
                  <c:x val="-1.211008479709268E-2"/>
                  <c:y val="9.383915742284039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1</a:t>
                    </a:r>
                  </a:p>
                  <a:p>
                    <a:pPr>
                      <a:defRPr b="1"/>
                    </a:pPr>
                    <a:endParaRPr lang="en-US" dirty="0"/>
                  </a:p>
                </c:rich>
              </c:tx>
              <c:spPr/>
              <c:showLegendKey val="1"/>
              <c:showVal val="1"/>
            </c:dLbl>
            <c:dLbl>
              <c:idx val="6"/>
              <c:layout>
                <c:manualLayout>
                  <c:x val="-1.4481955380577501E-2"/>
                  <c:y val="5.183231262758832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0,</a:t>
                    </a:r>
                    <a:r>
                      <a:rPr lang="ru-RU" dirty="0" smtClean="0"/>
                      <a:t>1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7"/>
              <c:layout>
                <c:manualLayout>
                  <c:x val="2.2364908713333912E-2"/>
                  <c:y val="1.989855738835582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6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8"/>
              <c:layout>
                <c:manualLayout>
                  <c:x val="-1.9658323959505081E-2"/>
                  <c:y val="6.39775274441059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9"/>
              <c:layout>
                <c:manualLayout>
                  <c:x val="-0.11218579648697832"/>
                  <c:y val="2.8314989367204987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10"/>
              <c:layout>
                <c:manualLayout>
                  <c:x val="-1.4543580489938954E-2"/>
                  <c:y val="1.6142315543890381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</a:t>
                    </a:r>
                    <a:r>
                      <a:rPr lang="ru-RU" dirty="0" smtClean="0"/>
                      <a:t>0,9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1"/>
              <c:layout>
                <c:manualLayout>
                  <c:x val="-4.621161417322843E-2"/>
                  <c:y val="-3.174569845436005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showLegendKey val="1"/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Налог на доходы физических лиц</c:v>
                </c:pt>
                <c:pt idx="1">
                  <c:v>Доходы от уплаты акцизов на нефтепродукты</c:v>
                </c:pt>
                <c:pt idx="2">
                  <c:v>Единый налог на вмененный доход для отдельных видов деятельности</c:v>
                </c:pt>
                <c:pt idx="3">
                  <c:v>Единый сельскохозяйственный налог</c:v>
                </c:pt>
                <c:pt idx="4">
                  <c:v>Государственная пошлина</c:v>
                </c:pt>
                <c:pt idx="5">
                  <c:v>Доходы от использования имущества, находящегося в муниципальной собственности</c:v>
                </c:pt>
                <c:pt idx="6">
                  <c:v>Плата за негативное воздействие на окружающую среду</c:v>
                </c:pt>
                <c:pt idx="7">
                  <c:v>Доходы от оказания платных услуг</c:v>
                </c:pt>
                <c:pt idx="8">
                  <c:v>Штрафы, санкции, возмещение ущерба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</c:v>
                </c:pt>
                <c:pt idx="1">
                  <c:v>2.5</c:v>
                </c:pt>
                <c:pt idx="2">
                  <c:v>4.5</c:v>
                </c:pt>
                <c:pt idx="3">
                  <c:v>4.2</c:v>
                </c:pt>
                <c:pt idx="4">
                  <c:v>1.8</c:v>
                </c:pt>
                <c:pt idx="5">
                  <c:v>10.7</c:v>
                </c:pt>
                <c:pt idx="6">
                  <c:v>0.2</c:v>
                </c:pt>
                <c:pt idx="7">
                  <c:v>11.5</c:v>
                </c:pt>
                <c:pt idx="8">
                  <c:v>1.6</c:v>
                </c:pt>
              </c:numCache>
            </c:numRef>
          </c:val>
        </c:ser>
      </c:pie3DChart>
      <c:spPr>
        <a:noFill/>
        <a:ln w="25409">
          <a:noFill/>
        </a:ln>
      </c:spPr>
    </c:plotArea>
    <c:legend>
      <c:legendPos val="r"/>
      <c:legendEntry>
        <c:idx val="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5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7"/>
        <c:txPr>
          <a:bodyPr/>
          <a:lstStyle/>
          <a:p>
            <a:pPr algn="just">
              <a:defRPr sz="1000" b="1" i="0"/>
            </a:pPr>
            <a:endParaRPr lang="ru-RU"/>
          </a:p>
        </c:txPr>
      </c:legendEntry>
      <c:legendEntry>
        <c:idx val="1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ayout>
        <c:manualLayout>
          <c:xMode val="edge"/>
          <c:yMode val="edge"/>
          <c:x val="5.8353162585446074E-2"/>
          <c:y val="0.68620567273981403"/>
          <c:w val="0.71154916933460244"/>
          <c:h val="0.24406589459164357"/>
        </c:manualLayout>
      </c:layout>
      <c:txPr>
        <a:bodyPr/>
        <a:lstStyle/>
        <a:p>
          <a:pPr algn="just">
            <a:defRPr sz="1000"/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799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3"/>
  <c:chart>
    <c:view3D>
      <c:rotX val="0"/>
      <c:rotY val="70"/>
      <c:perspective val="30"/>
    </c:view3D>
    <c:plotArea>
      <c:layout>
        <c:manualLayout>
          <c:layoutTarget val="inner"/>
          <c:xMode val="edge"/>
          <c:yMode val="edge"/>
          <c:x val="0.10927759939236351"/>
          <c:y val="2.0712910340279552E-2"/>
          <c:w val="0.883276214743973"/>
          <c:h val="0.89655409740449454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09398</c:v>
                </c:pt>
              </c:numCache>
            </c:numRef>
          </c:val>
          <c:shape val="pyramid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39052</c:v>
                </c:pt>
              </c:numCache>
            </c:numRef>
          </c:val>
          <c:shape val="pyramid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spPr>
              <a:solidFill>
                <a:srgbClr val="CCCCFF"/>
              </a:solidFill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42159</c:v>
                </c:pt>
              </c:numCache>
            </c:numRef>
          </c:val>
          <c:shape val="pyramid"/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45572</c:v>
                </c:pt>
              </c:numCache>
            </c:numRef>
          </c:val>
          <c:shape val="pyramid"/>
        </c:ser>
        <c:shape val="box"/>
        <c:axId val="162838784"/>
        <c:axId val="162840576"/>
        <c:axId val="162744064"/>
      </c:bar3DChart>
      <c:catAx>
        <c:axId val="162838784"/>
        <c:scaling>
          <c:orientation val="minMax"/>
        </c:scaling>
        <c:axPos val="b"/>
        <c:numFmt formatCode="General" sourceLinked="1"/>
        <c:tickLblPos val="nextTo"/>
        <c:crossAx val="162840576"/>
        <c:crossesAt val="10000"/>
        <c:auto val="1"/>
        <c:lblAlgn val="ctr"/>
        <c:lblOffset val="100"/>
      </c:catAx>
      <c:valAx>
        <c:axId val="162840576"/>
        <c:scaling>
          <c:orientation val="minMax"/>
          <c:max val="150000"/>
          <c:min val="500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2838784"/>
        <c:crosses val="autoZero"/>
        <c:crossBetween val="between"/>
        <c:majorUnit val="10000"/>
        <c:minorUnit val="10000"/>
      </c:valAx>
      <c:serAx>
        <c:axId val="162744064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2840576"/>
        <c:crossesAt val="10000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2857142857143046E-2"/>
          <c:y val="1.8749999999999999E-2"/>
          <c:w val="0.88"/>
          <c:h val="0.8048540612709415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99CCFF"/>
            </a:solidFill>
            <a:ln w="16916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CCCCFF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CCFF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rgbClr val="FF99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gapWidth val="79"/>
        <c:gapDepth val="0"/>
        <c:shape val="box"/>
        <c:axId val="165927552"/>
        <c:axId val="166007168"/>
        <c:axId val="0"/>
      </c:bar3DChart>
      <c:catAx>
        <c:axId val="165927552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400" b="0" i="0" u="none" strike="noStrike" baseline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defRPr>
            </a:pPr>
            <a:endParaRPr lang="ru-RU"/>
          </a:p>
        </c:txPr>
        <c:crossAx val="166007168"/>
        <c:crosses val="autoZero"/>
        <c:auto val="1"/>
        <c:lblAlgn val="ctr"/>
        <c:lblOffset val="100"/>
        <c:tickLblSkip val="1"/>
        <c:tickMarkSkip val="1"/>
      </c:catAx>
      <c:valAx>
        <c:axId val="166007168"/>
        <c:scaling>
          <c:orientation val="minMax"/>
          <c:min val="8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32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5927552"/>
        <c:crosses val="autoZero"/>
        <c:crossBetween val="between"/>
      </c:valAx>
      <c:spPr>
        <a:noFill/>
        <a:ln w="3383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26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1.749781277340348E-5"/>
          <c:y val="5.3845140522233895E-2"/>
          <c:w val="0.99859361329833773"/>
          <c:h val="0.93904731338351033"/>
        </c:manualLayout>
      </c:layout>
      <c:ofPieChart>
        <c:ofPieType val="bar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CC99"/>
              </a:solidFill>
            </c:spPr>
          </c:dPt>
          <c:dPt>
            <c:idx val="5"/>
            <c:spPr>
              <a:solidFill>
                <a:srgbClr val="92D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693</a:t>
                    </a:r>
                    <a:r>
                      <a:rPr lang="ru-RU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272,71</a:t>
                    </a:r>
                    <a:endParaRPr lang="en-US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3.3631671041119915E-2"/>
                  <c:y val="0.10295678707779861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220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969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4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-0.13045877077865267"/>
                  <c:y val="0.1188968513630680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153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602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-1.7039538149618238E-2"/>
                  <c:y val="-0.15982353487234452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24 280,1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0424650043744531E-2"/>
                  <c:y val="-7.3547234344238073E-3"/>
                </c:manualLayout>
              </c:layout>
              <c:showVal val="1"/>
            </c:dLbl>
            <c:dLbl>
              <c:idx val="5"/>
              <c:layout>
                <c:manualLayout>
                  <c:x val="-8.70838801399825E-2"/>
                  <c:y val="2.1292459654047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20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-8.8737314085739247E-2"/>
                  <c:y val="-9.125442500131805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515,9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7"/>
              <c:layout>
                <c:manualLayout>
                  <c:x val="-8.8504374453194354E-2"/>
                  <c:y val="-4.8484601713954505E-3"/>
                </c:manualLayout>
              </c:layout>
              <c:showVal val="1"/>
            </c:dLbl>
            <c:dLbl>
              <c:idx val="8"/>
              <c:delete val="1"/>
            </c:dLbl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>
                  <a:solidFill>
                    <a:srgbClr val="FF0000"/>
                  </a:solidFill>
                </a:ln>
              </c:spPr>
            </c:leaderLines>
          </c:dLbls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</c:v>
                </c:pt>
                <c:pt idx="3">
                  <c:v>кв.</c:v>
                </c:pt>
                <c:pt idx="4">
                  <c:v>Кв. 3</c:v>
                </c:pt>
                <c:pt idx="5">
                  <c:v>Кв. 4</c:v>
                </c:pt>
                <c:pt idx="6">
                  <c:v>кв. 5</c:v>
                </c:pt>
                <c:pt idx="7">
                  <c:v>кв.6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93272.71</c:v>
                </c:pt>
                <c:pt idx="1">
                  <c:v>220969</c:v>
                </c:pt>
                <c:pt idx="2">
                  <c:v>153602</c:v>
                </c:pt>
                <c:pt idx="3">
                  <c:v>24280.1</c:v>
                </c:pt>
                <c:pt idx="4">
                  <c:v>1742.91</c:v>
                </c:pt>
                <c:pt idx="5">
                  <c:v>920</c:v>
                </c:pt>
                <c:pt idx="6">
                  <c:v>515.9</c:v>
                </c:pt>
                <c:pt idx="7">
                  <c:v>307.01</c:v>
                </c:pt>
              </c:numCache>
            </c:numRef>
          </c:val>
        </c:ser>
        <c:gapWidth val="100"/>
        <c:secondPieSize val="75"/>
        <c:serLines/>
      </c:ofPieChart>
      <c:spPr>
        <a:scene3d>
          <a:camera prst="orthographicFront"/>
          <a:lightRig rig="threePt" dir="t"/>
        </a:scene3d>
        <a:sp3d>
          <a:bevelT w="6350"/>
        </a:sp3d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21499448732084037"/>
          <c:y val="0.13050847457627296"/>
          <c:w val="0.42668136714443661"/>
          <c:h val="0.65593220338983615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12739">
              <a:solidFill>
                <a:schemeClr val="tx1"/>
              </a:solidFill>
              <a:prstDash val="solid"/>
            </a:ln>
          </c:spPr>
          <c:explosion val="7"/>
          <c:dPt>
            <c:idx val="0"/>
            <c:spPr>
              <a:solidFill>
                <a:srgbClr val="FF99CC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3366FF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chemeClr val="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11583737671044635"/>
                  <c:y val="3.7125665147644281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b="1" i="0" strike="noStrike" dirty="0" smtClean="0">
                        <a:solidFill>
                          <a:srgbClr val="000000"/>
                        </a:solidFill>
                        <a:latin typeface="Calibri"/>
                      </a:rPr>
                      <a:t>16,2%</a:t>
                    </a:r>
                    <a:endParaRPr lang="ru-RU" sz="2400" b="1" i="0" strike="noStrike" dirty="0">
                      <a:solidFill>
                        <a:srgbClr val="000000"/>
                      </a:solidFill>
                      <a:latin typeface="Calibri"/>
                    </a:endParaRPr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1"/>
              <c:layout>
                <c:manualLayout>
                  <c:x val="3.8157686419367162E-2"/>
                  <c:y val="1.5633138543799954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2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2"/>
              <c:layout>
                <c:manualLayout>
                  <c:x val="0.12613191160065423"/>
                  <c:y val="-2.003172170912039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3"/>
              <c:layout>
                <c:manualLayout>
                  <c:x val="-1.2380818026768783E-2"/>
                  <c:y val="-0.20901159384967594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63,4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numFmt formatCode="0.00%" sourceLinked="0"/>
            <c:spPr>
              <a:noFill/>
              <a:ln w="25479">
                <a:noFill/>
              </a:ln>
            </c:spPr>
            <c:txPr>
              <a:bodyPr/>
              <a:lstStyle/>
              <a:p>
                <a:pPr>
                  <a:defRPr sz="2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1"/>
            <c:showPercent val="1"/>
            <c:showLeaderLines val="1"/>
          </c:dLbls>
          <c:cat>
            <c:strRef>
              <c:f>Sheet1!$B$1:$E$1</c:f>
              <c:strCache>
                <c:ptCount val="4"/>
                <c:pt idx="0">
                  <c:v>субсидии </c:v>
                </c:pt>
                <c:pt idx="1">
                  <c:v>дотация на выравнивание бюджетной обеспеченности и сбалансированность</c:v>
                </c:pt>
                <c:pt idx="2">
                  <c:v>иные межбюджетные трансферты</c:v>
                </c:pt>
                <c:pt idx="3">
                  <c:v>субвенции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77882.1</c:v>
                </c:pt>
                <c:pt idx="1">
                  <c:v>220969</c:v>
                </c:pt>
                <c:pt idx="2">
                  <c:v>1742.91</c:v>
                </c:pt>
                <c:pt idx="3">
                  <c:v>693272.71</c:v>
                </c:pt>
              </c:numCache>
            </c:numRef>
          </c:val>
        </c:ser>
        <c:firstSliceAng val="30"/>
      </c:pieChart>
      <c:spPr>
        <a:noFill/>
        <a:ln w="25479">
          <a:noFill/>
        </a:ln>
      </c:spPr>
    </c:plotArea>
    <c:legend>
      <c:legendPos val="r"/>
      <c:layout>
        <c:manualLayout>
          <c:xMode val="edge"/>
          <c:yMode val="edge"/>
          <c:x val="0"/>
          <c:y val="0.78610570797264456"/>
          <c:w val="0.99779492833517658"/>
          <c:h val="0.21389429202735696"/>
        </c:manualLayout>
      </c:layout>
      <c:spPr>
        <a:noFill/>
        <a:ln w="25479">
          <a:noFill/>
        </a:ln>
      </c:spPr>
      <c:txPr>
        <a:bodyPr/>
        <a:lstStyle/>
        <a:p>
          <a:pPr>
            <a:defRPr sz="1846" b="1" i="0" u="none" strike="noStrike" baseline="0">
              <a:solidFill>
                <a:schemeClr val="tx1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260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684E-2"/>
          <c:y val="0.13021948142257131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ция растениеводства</c:v>
                </c:pt>
              </c:strCache>
            </c:strRef>
          </c:tx>
          <c:spPr>
            <a:solidFill>
              <a:srgbClr val="00CC99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06.9</c:v>
                </c:pt>
                <c:pt idx="1">
                  <c:v>2901</c:v>
                </c:pt>
                <c:pt idx="2">
                  <c:v>2776.25</c:v>
                </c:pt>
                <c:pt idx="3">
                  <c:v>4397</c:v>
                </c:pt>
                <c:pt idx="4">
                  <c:v>4650</c:v>
                </c:pt>
                <c:pt idx="5">
                  <c:v>4940</c:v>
                </c:pt>
              </c:numCache>
            </c:numRef>
          </c:val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ция животноводства</c:v>
                </c:pt>
              </c:strCache>
            </c:strRef>
          </c:tx>
          <c:spPr>
            <a:solidFill>
              <a:srgbClr val="99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07.5</c:v>
                </c:pt>
                <c:pt idx="1">
                  <c:v>1390</c:v>
                </c:pt>
                <c:pt idx="2">
                  <c:v>1370</c:v>
                </c:pt>
                <c:pt idx="3">
                  <c:v>1417</c:v>
                </c:pt>
                <c:pt idx="4">
                  <c:v>1470</c:v>
                </c:pt>
                <c:pt idx="5">
                  <c:v>1540</c:v>
                </c:pt>
              </c:numCache>
            </c:numRef>
          </c:val>
        </c:ser>
        <c:gapDepth val="0"/>
        <c:shape val="box"/>
        <c:axId val="84162816"/>
        <c:axId val="84172800"/>
        <c:axId val="0"/>
      </c:bar3DChart>
      <c:catAx>
        <c:axId val="8416281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172800"/>
        <c:crosses val="autoZero"/>
        <c:auto val="1"/>
        <c:lblAlgn val="ctr"/>
        <c:lblOffset val="100"/>
        <c:tickLblSkip val="1"/>
        <c:tickMarkSkip val="1"/>
      </c:catAx>
      <c:valAx>
        <c:axId val="84172800"/>
        <c:scaling>
          <c:orientation val="minMax"/>
          <c:max val="4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4162816"/>
        <c:crosses val="autoZero"/>
        <c:crossBetween val="between"/>
        <c:majorUnit val="400"/>
        <c:minorUnit val="200"/>
      </c:valAx>
      <c:spPr>
        <a:noFill/>
        <a:ln w="25454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"/>
          <c:y val="0.83422411781860661"/>
          <c:w val="1"/>
          <c:h val="5.0697579469233013E-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6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flip="none" rotWithShape="1">
              <a:gsLst>
                <a:gs pos="0">
                  <a:srgbClr val="7030A0"/>
                </a:gs>
                <a:gs pos="50000">
                  <a:srgbClr val="9933FF"/>
                </a:gs>
                <a:gs pos="100000">
                  <a:srgbClr val="CCCCFF"/>
                </a:gs>
              </a:gsLst>
              <a:path path="shape">
                <a:fillToRect l="50000" t="50000" r="50000" b="50000"/>
              </a:path>
              <a:tileRect/>
            </a:gra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18 го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02.45</c:v>
                </c:pt>
                <c:pt idx="1">
                  <c:v>1161.57</c:v>
                </c:pt>
              </c:numCache>
            </c:numRef>
          </c:val>
        </c:ser>
        <c:shape val="cylinder"/>
        <c:axId val="167252352"/>
        <c:axId val="167253888"/>
        <c:axId val="0"/>
      </c:bar3DChart>
      <c:catAx>
        <c:axId val="167252352"/>
        <c:scaling>
          <c:orientation val="minMax"/>
        </c:scaling>
        <c:axPos val="l"/>
        <c:numFmt formatCode="General" sourceLinked="1"/>
        <c:tickLblPos val="nextTo"/>
        <c:crossAx val="167253888"/>
        <c:crosses val="autoZero"/>
        <c:auto val="1"/>
        <c:lblAlgn val="ctr"/>
        <c:lblOffset val="100"/>
      </c:catAx>
      <c:valAx>
        <c:axId val="167253888"/>
        <c:scaling>
          <c:orientation val="minMax"/>
          <c:min val="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67252352"/>
        <c:crosses val="autoZero"/>
        <c:crossBetween val="between"/>
        <c:majorUnit val="100"/>
        <c:minorUnit val="100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586749620412547E-2"/>
          <c:y val="8.9085808700821029E-2"/>
          <c:w val="0.97413265893346523"/>
          <c:h val="0.82182838259836266"/>
        </c:manualLayout>
      </c:layout>
      <c:lineChart>
        <c:grouping val="standard"/>
        <c:ser>
          <c:idx val="0"/>
          <c:order val="0"/>
          <c:tx>
            <c:strRef>
              <c:f>'Лист1'!$B$1</c:f>
              <c:strCache>
                <c:ptCount val="1"/>
                <c:pt idx="0">
                  <c:v>Ряд 1</c:v>
                </c:pt>
              </c:strCache>
            </c:strRef>
          </c:tx>
          <c:spPr>
            <a:ln w="76200">
              <a:solidFill>
                <a:srgbClr val="34908C"/>
              </a:solidFill>
            </a:ln>
          </c:spPr>
          <c:marker>
            <c:symbol val="circle"/>
            <c:size val="15"/>
            <c:spPr>
              <a:solidFill>
                <a:srgbClr val="34908C"/>
              </a:solidFill>
              <a:ln w="25400">
                <a:solidFill>
                  <a:schemeClr val="bg1"/>
                </a:solidFill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9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489</a:t>
                    </a:r>
                    <a:endParaRPr lang="en-US"/>
                  </a:p>
                </c:rich>
              </c:tx>
              <c:dLblPos val="t"/>
              <c:showVal val="1"/>
            </c:dLbl>
            <c:dLbl>
              <c:idx val="1"/>
              <c:layout>
                <c:manualLayout>
                  <c:x val="-7.2476021182832348E-2"/>
                  <c:y val="-0.14209154603096291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136</a:t>
                    </a:r>
                    <a:endParaRPr lang="en-US"/>
                  </a:p>
                </c:rich>
              </c:tx>
              <c:dLblPos val="r"/>
              <c:showVal val="1"/>
            </c:dLbl>
            <c:dLbl>
              <c:idx val="2"/>
              <c:layout>
                <c:manualLayout>
                  <c:x val="-2.6323774970277952E-3"/>
                  <c:y val="-0.13588168486325616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280</a:t>
                    </a:r>
                    <a:endParaRPr lang="en-US"/>
                  </a:p>
                </c:rich>
              </c:tx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474747"/>
                    </a:solidFill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Лист1'!$A$2:$A$4</c:f>
              <c:numCache>
                <c:formatCode>dd/mm/yyyy</c:formatCode>
                <c:ptCount val="3"/>
                <c:pt idx="0">
                  <c:v>43101</c:v>
                </c:pt>
                <c:pt idx="1">
                  <c:v>43221</c:v>
                </c:pt>
                <c:pt idx="2">
                  <c:v>43466</c:v>
                </c:pt>
              </c:numCache>
            </c:numRef>
          </c:cat>
          <c:val>
            <c:numRef>
              <c:f>'Лист1'!$B$2:$B$4</c:f>
              <c:numCache>
                <c:formatCode>General</c:formatCode>
                <c:ptCount val="3"/>
                <c:pt idx="0">
                  <c:v>9489</c:v>
                </c:pt>
                <c:pt idx="1">
                  <c:v>11136</c:v>
                </c:pt>
                <c:pt idx="2">
                  <c:v>11280</c:v>
                </c:pt>
              </c:numCache>
            </c:numRef>
          </c:val>
        </c:ser>
        <c:dLbls>
          <c:showVal val="1"/>
        </c:dLbls>
        <c:marker val="1"/>
        <c:axId val="168175872"/>
        <c:axId val="168185856"/>
      </c:lineChart>
      <c:dateAx>
        <c:axId val="168175872"/>
        <c:scaling>
          <c:orientation val="minMax"/>
        </c:scaling>
        <c:delete val="1"/>
        <c:axPos val="b"/>
        <c:numFmt formatCode="dd/mm/yyyy" sourceLinked="1"/>
        <c:tickLblPos val="none"/>
        <c:crossAx val="168185856"/>
        <c:crosses val="autoZero"/>
        <c:auto val="1"/>
        <c:lblOffset val="100"/>
      </c:dateAx>
      <c:valAx>
        <c:axId val="168185856"/>
        <c:scaling>
          <c:orientation val="minMax"/>
        </c:scaling>
        <c:delete val="1"/>
        <c:axPos val="l"/>
        <c:numFmt formatCode="General" sourceLinked="1"/>
        <c:tickLblPos val="none"/>
        <c:crossAx val="168175872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8"/>
  <c:chart>
    <c:autoTitleDeleted val="1"/>
    <c:plotArea>
      <c:layout/>
      <c:lineChart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69850" cap="sq">
              <a:solidFill>
                <a:schemeClr val="accent5">
                  <a:lumMod val="75000"/>
                </a:schemeClr>
              </a:solidFill>
              <a:miter lim="800000"/>
            </a:ln>
          </c:spPr>
          <c:marker>
            <c:spPr>
              <a:solidFill>
                <a:srgbClr val="FFFF00"/>
              </a:solidFill>
            </c:spPr>
          </c:marker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115852.03</c:v>
                </c:pt>
                <c:pt idx="1">
                  <c:v>1238717.58</c:v>
                </c:pt>
                <c:pt idx="2">
                  <c:v>1202502.57</c:v>
                </c:pt>
                <c:pt idx="3">
                  <c:v>1201983.8900000008</c:v>
                </c:pt>
              </c:numCache>
            </c:numRef>
          </c:val>
        </c:ser>
        <c:marker val="1"/>
        <c:axId val="169218432"/>
        <c:axId val="169248640"/>
      </c:lineChart>
      <c:catAx>
        <c:axId val="16921843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248640"/>
        <c:crosses val="autoZero"/>
        <c:auto val="1"/>
        <c:lblAlgn val="ctr"/>
        <c:lblOffset val="100"/>
      </c:catAx>
      <c:valAx>
        <c:axId val="169248640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69218432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10"/>
      <c:perspective val="30"/>
    </c:view3D>
    <c:plotArea>
      <c:layout>
        <c:manualLayout>
          <c:layoutTarget val="inner"/>
          <c:xMode val="edge"/>
          <c:yMode val="edge"/>
          <c:x val="0.11671161417322842"/>
          <c:y val="0.11332327209098862"/>
          <c:w val="0.88328838582676306"/>
          <c:h val="0.6056761446485927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5">
                  <a:lumMod val="90000"/>
                </a:schemeClr>
              </a:solidFill>
            </c:spPr>
          </c:dPt>
          <c:dPt>
            <c:idx val="2"/>
            <c:explosion val="40"/>
            <c:spPr>
              <a:solidFill>
                <a:srgbClr val="FF99CC"/>
              </a:solidFill>
            </c:spPr>
          </c:dPt>
          <c:dPt>
            <c:idx val="3"/>
            <c:explosion val="33"/>
            <c:spPr>
              <a:solidFill>
                <a:srgbClr val="FF0000"/>
              </a:solidFill>
            </c:spPr>
          </c:dPt>
          <c:dPt>
            <c:idx val="4"/>
            <c:explosion val="29"/>
          </c:dPt>
          <c:dPt>
            <c:idx val="5"/>
            <c:explosion val="2"/>
            <c:spPr>
              <a:solidFill>
                <a:srgbClr val="FFFF00"/>
              </a:solidFill>
            </c:spPr>
          </c:dPt>
          <c:dPt>
            <c:idx val="6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Pt>
            <c:idx val="8"/>
            <c:spPr>
              <a:solidFill>
                <a:srgbClr val="00FF00"/>
              </a:solidFill>
            </c:spPr>
          </c:dPt>
          <c:dPt>
            <c:idx val="9"/>
            <c:spPr>
              <a:solidFill>
                <a:srgbClr val="66CCFF"/>
              </a:solidFill>
            </c:spPr>
          </c:dPt>
          <c:dPt>
            <c:idx val="10"/>
            <c:spPr>
              <a:solidFill>
                <a:schemeClr val="accent2">
                  <a:lumMod val="20000"/>
                  <a:lumOff val="80000"/>
                </a:schemeClr>
              </a:solidFill>
            </c:spPr>
          </c:dPt>
          <c:dPt>
            <c:idx val="11"/>
            <c:explosion val="50"/>
            <c:spPr>
              <a:solidFill>
                <a:srgbClr val="FF66FF"/>
              </a:solidFill>
            </c:spPr>
          </c:dPt>
          <c:dPt>
            <c:idx val="12"/>
            <c:spPr>
              <a:solidFill>
                <a:srgbClr val="9999FF"/>
              </a:solidFill>
            </c:spPr>
          </c:dPt>
          <c:cat>
            <c:strRef>
              <c:f>Лист1!$A$2:$A$18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физической культуры и спорта </c:v>
                </c:pt>
                <c:pt idx="4">
                  <c:v>Молодежная политика </c:v>
                </c:pt>
                <c:pt idx="5">
                  <c:v>Управление имуществом </c:v>
                </c:pt>
                <c:pt idx="6">
                  <c:v>Управление финансами </c:v>
                </c:pt>
                <c:pt idx="7">
                  <c:v>Защита населения и территории Курского района от чрезвычайных ситуаций</c:v>
                </c:pt>
                <c:pt idx="8">
                  <c:v>Развитие малого и среднего бизнеса, потребительского рынка, снижение административных барьеров </c:v>
                </c:pt>
                <c:pt idx="9">
                  <c:v>Развитие коммунального хозяйства, транспортной системы и обеспечение безопасности дорожного движения </c:v>
                </c:pt>
                <c:pt idx="10">
                  <c:v>Развитие сельского хозяйства </c:v>
                </c:pt>
                <c:pt idx="11">
                  <c:v>Межнациональные отношения и поддержка казачества </c:v>
                </c:pt>
                <c:pt idx="12">
                  <c:v>Энергосбережение</c:v>
                </c:pt>
                <c:pt idx="13">
                  <c:v>Профилактика правонарушений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53.1</c:v>
                </c:pt>
                <c:pt idx="1">
                  <c:v>23.7</c:v>
                </c:pt>
                <c:pt idx="2">
                  <c:v>5.4</c:v>
                </c:pt>
                <c:pt idx="3">
                  <c:v>1.1000000000000001</c:v>
                </c:pt>
                <c:pt idx="4">
                  <c:v>0.2</c:v>
                </c:pt>
                <c:pt idx="5">
                  <c:v>0.1</c:v>
                </c:pt>
                <c:pt idx="6">
                  <c:v>4.8</c:v>
                </c:pt>
                <c:pt idx="7">
                  <c:v>0.3000000000000003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4.0000000000000022E-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</c:pie3DChart>
    </c:plotArea>
    <c:plotVisOnly val="1"/>
  </c:chart>
  <c:txPr>
    <a:bodyPr/>
    <a:lstStyle/>
    <a:p>
      <a:pPr>
        <a:defRPr sz="1100"/>
      </a:pPr>
      <a:endParaRPr lang="ru-RU"/>
    </a:p>
  </c:txPr>
  <c:externalData r:id="rId1"/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hape val="cylinder"/>
        <c:axId val="121792768"/>
        <c:axId val="121868288"/>
        <c:axId val="0"/>
      </c:bar3DChart>
      <c:catAx>
        <c:axId val="121792768"/>
        <c:scaling>
          <c:orientation val="minMax"/>
        </c:scaling>
        <c:axPos val="b"/>
        <c:numFmt formatCode="General" sourceLinked="1"/>
        <c:tickLblPos val="nextTo"/>
        <c:crossAx val="121868288"/>
        <c:crosses val="autoZero"/>
        <c:auto val="1"/>
        <c:lblAlgn val="ctr"/>
        <c:lblOffset val="100"/>
      </c:catAx>
      <c:valAx>
        <c:axId val="121868288"/>
        <c:scaling>
          <c:orientation val="minMax"/>
          <c:min val="1100000"/>
        </c:scaling>
        <c:axPos val="l"/>
        <c:majorGridlines/>
        <c:numFmt formatCode="General" sourceLinked="1"/>
        <c:tickLblPos val="nextTo"/>
        <c:crossAx val="1217927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678059296172903"/>
          <c:y val="0.35397627398664827"/>
          <c:w val="0.15181959181388074"/>
          <c:h val="0.23262529346126404"/>
        </c:manualLayout>
      </c:layout>
    </c:legend>
    <c:plotVisOnly val="1"/>
  </c:chart>
  <c:txPr>
    <a:bodyPr/>
    <a:lstStyle/>
    <a:p>
      <a:pPr>
        <a:defRPr sz="18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34E-2"/>
          <c:y val="0.12165639806711756"/>
          <c:w val="0.92073832790445154"/>
          <c:h val="0.57263513513513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аловой сбор зерна (в весе после обработки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89.89999999999969</c:v>
                </c:pt>
                <c:pt idx="1">
                  <c:v>275.39999999999969</c:v>
                </c:pt>
                <c:pt idx="2">
                  <c:v>273</c:v>
                </c:pt>
                <c:pt idx="3">
                  <c:v>275</c:v>
                </c:pt>
                <c:pt idx="4">
                  <c:v>281.5</c:v>
                </c:pt>
                <c:pt idx="5">
                  <c:v>287.20999999999964</c:v>
                </c:pt>
              </c:numCache>
            </c:numRef>
          </c:val>
        </c:ser>
        <c:gapDepth val="0"/>
        <c:shape val="cylinder"/>
        <c:axId val="85739008"/>
        <c:axId val="85740544"/>
        <c:axId val="0"/>
      </c:bar3DChart>
      <c:catAx>
        <c:axId val="857390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5740544"/>
        <c:crosses val="autoZero"/>
        <c:auto val="1"/>
        <c:lblAlgn val="ctr"/>
        <c:lblOffset val="100"/>
        <c:tickLblSkip val="1"/>
        <c:tickMarkSkip val="1"/>
      </c:catAx>
      <c:valAx>
        <c:axId val="85740544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573900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8.459387833382162E-2"/>
          <c:y val="0.83139145345915488"/>
          <c:w val="0.64976859242766061"/>
          <c:h val="9.256090810178022E-2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8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7.0148184601924762E-2"/>
          <c:y val="2.3188192545010752E-2"/>
          <c:w val="0.88896292650918662"/>
          <c:h val="0.67351981983331177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емена масленичных культур</c:v>
                </c:pt>
              </c:strCache>
            </c:strRef>
          </c:tx>
          <c:spPr>
            <a:ln>
              <a:solidFill>
                <a:srgbClr val="33CCCC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33CCCC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5.700000000000003</c:v>
                </c:pt>
                <c:pt idx="1">
                  <c:v>44.2</c:v>
                </c:pt>
                <c:pt idx="2">
                  <c:v>44.5</c:v>
                </c:pt>
                <c:pt idx="3">
                  <c:v>46.720000000000013</c:v>
                </c:pt>
                <c:pt idx="4">
                  <c:v>49.05</c:v>
                </c:pt>
                <c:pt idx="5">
                  <c:v>5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ртофель</c:v>
                </c:pt>
              </c:strCache>
            </c:strRef>
          </c:tx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.6</c:v>
                </c:pt>
                <c:pt idx="1">
                  <c:v>7.3</c:v>
                </c:pt>
                <c:pt idx="2">
                  <c:v>8.4</c:v>
                </c:pt>
                <c:pt idx="3">
                  <c:v>8.83</c:v>
                </c:pt>
                <c:pt idx="4">
                  <c:v>9.09</c:v>
                </c:pt>
                <c:pt idx="5">
                  <c:v>9.360000000000004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вощи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.8</c:v>
                </c:pt>
                <c:pt idx="1">
                  <c:v>10.3</c:v>
                </c:pt>
                <c:pt idx="2">
                  <c:v>10.5</c:v>
                </c:pt>
                <c:pt idx="3">
                  <c:v>11.03</c:v>
                </c:pt>
                <c:pt idx="4">
                  <c:v>11.360000000000017</c:v>
                </c:pt>
                <c:pt idx="5">
                  <c:v>1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т и птица на убой (в живом весе)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7.5</c:v>
                </c:pt>
                <c:pt idx="1">
                  <c:v>7.3</c:v>
                </c:pt>
                <c:pt idx="2">
                  <c:v>7.5</c:v>
                </c:pt>
                <c:pt idx="3">
                  <c:v>7.88</c:v>
                </c:pt>
                <c:pt idx="4">
                  <c:v>8.120000000000001</c:v>
                </c:pt>
                <c:pt idx="5">
                  <c:v>8.360000000000004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молоко</c:v>
                </c:pt>
              </c:strCache>
            </c:strRef>
          </c:tx>
          <c:spPr>
            <a:ln>
              <a:solidFill>
                <a:srgbClr val="669900"/>
              </a:solidFill>
            </a:ln>
          </c:spPr>
          <c:marker>
            <c:spPr>
              <a:solidFill>
                <a:srgbClr val="669900"/>
              </a:solidFill>
              <a:ln>
                <a:solidFill>
                  <a:srgbClr val="6699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23.1</c:v>
                </c:pt>
                <c:pt idx="1">
                  <c:v>24.5</c:v>
                </c:pt>
                <c:pt idx="2">
                  <c:v>25</c:v>
                </c:pt>
                <c:pt idx="3">
                  <c:v>26.27</c:v>
                </c:pt>
                <c:pt idx="4">
                  <c:v>27.05</c:v>
                </c:pt>
                <c:pt idx="5">
                  <c:v>27.8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яйца (млн. шт.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21.6</c:v>
                </c:pt>
                <c:pt idx="1">
                  <c:v>20.9</c:v>
                </c:pt>
                <c:pt idx="2">
                  <c:v>21.7</c:v>
                </c:pt>
                <c:pt idx="3">
                  <c:v>22.8</c:v>
                </c:pt>
                <c:pt idx="4">
                  <c:v>23.479999999999986</c:v>
                </c:pt>
                <c:pt idx="5">
                  <c:v>24.19</c:v>
                </c:pt>
              </c:numCache>
            </c:numRef>
          </c:val>
        </c:ser>
        <c:marker val="1"/>
        <c:axId val="94187520"/>
        <c:axId val="94189440"/>
      </c:lineChart>
      <c:catAx>
        <c:axId val="94187520"/>
        <c:scaling>
          <c:orientation val="minMax"/>
        </c:scaling>
        <c:axPos val="b"/>
        <c:numFmt formatCode="General" sourceLinked="1"/>
        <c:tickLblPos val="nextTo"/>
        <c:crossAx val="94189440"/>
        <c:crosses val="autoZero"/>
        <c:auto val="1"/>
        <c:lblAlgn val="ctr"/>
        <c:lblOffset val="100"/>
      </c:catAx>
      <c:valAx>
        <c:axId val="94189440"/>
        <c:scaling>
          <c:orientation val="minMax"/>
          <c:max val="55"/>
          <c:min val="0"/>
        </c:scaling>
        <c:axPos val="l"/>
        <c:majorGridlines/>
        <c:numFmt formatCode="General" sourceLinked="1"/>
        <c:tickLblPos val="nextTo"/>
        <c:crossAx val="94187520"/>
        <c:crosses val="autoZero"/>
        <c:crossBetween val="between"/>
        <c:majorUnit val="5"/>
        <c:minorUnit val="1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"/>
          <c:y val="0.79253046609096556"/>
          <c:w val="1"/>
          <c:h val="0.2074695058125874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75E-2"/>
          <c:y val="0.12165639806711756"/>
          <c:w val="0.92073832790445154"/>
          <c:h val="0.6430055409740449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выполненных работ по виду "Строительство"</c:v>
                </c:pt>
              </c:strCache>
            </c:strRef>
          </c:tx>
          <c:spPr>
            <a:solidFill>
              <a:srgbClr val="66CC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699.93</c:v>
                </c:pt>
                <c:pt idx="1">
                  <c:v>5001.1000000000004</c:v>
                </c:pt>
                <c:pt idx="2">
                  <c:v>3500</c:v>
                </c:pt>
                <c:pt idx="3">
                  <c:v>3550</c:v>
                </c:pt>
                <c:pt idx="4">
                  <c:v>3599.7</c:v>
                </c:pt>
                <c:pt idx="5">
                  <c:v>3650.09</c:v>
                </c:pt>
              </c:numCache>
            </c:numRef>
          </c:val>
        </c:ser>
        <c:gapDepth val="0"/>
        <c:shape val="cylinder"/>
        <c:axId val="94269824"/>
        <c:axId val="94271360"/>
        <c:axId val="0"/>
      </c:bar3DChart>
      <c:catAx>
        <c:axId val="9426982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4271360"/>
        <c:crosses val="autoZero"/>
        <c:auto val="1"/>
        <c:lblAlgn val="ctr"/>
        <c:lblOffset val="100"/>
        <c:tickLblSkip val="1"/>
        <c:tickMarkSkip val="1"/>
      </c:catAx>
      <c:valAx>
        <c:axId val="9427136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426982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33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3.203937007874029E-2"/>
          <c:y val="0.11054534849810442"/>
          <c:w val="0.96796052055992998"/>
          <c:h val="0.619011681762354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вод в действие жилых домов</c:v>
                </c:pt>
              </c:strCache>
            </c:strRef>
          </c:tx>
          <c:spPr>
            <a:solidFill>
              <a:srgbClr val="CC00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.9</c:v>
                </c:pt>
                <c:pt idx="1">
                  <c:v>4.7</c:v>
                </c:pt>
                <c:pt idx="2">
                  <c:v>5.6</c:v>
                </c:pt>
                <c:pt idx="3">
                  <c:v>5.7</c:v>
                </c:pt>
                <c:pt idx="4">
                  <c:v>5.8</c:v>
                </c:pt>
                <c:pt idx="5">
                  <c:v>5.9</c:v>
                </c:pt>
              </c:numCache>
            </c:numRef>
          </c:val>
        </c:ser>
        <c:gapDepth val="0"/>
        <c:shape val="cylinder"/>
        <c:axId val="94288896"/>
        <c:axId val="95453952"/>
        <c:axId val="0"/>
      </c:bar3DChart>
      <c:catAx>
        <c:axId val="9428889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5453952"/>
        <c:crosses val="autoZero"/>
        <c:auto val="1"/>
        <c:lblAlgn val="ctr"/>
        <c:lblOffset val="100"/>
        <c:tickLblSkip val="1"/>
        <c:tickMarkSkip val="1"/>
      </c:catAx>
      <c:valAx>
        <c:axId val="95453952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428889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77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458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отгруженных товаров собственного производства, выполненных работ и услуг собственными силами 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23.6</c:v>
                </c:pt>
                <c:pt idx="1">
                  <c:v>205.9</c:v>
                </c:pt>
                <c:pt idx="2">
                  <c:v>210.6</c:v>
                </c:pt>
                <c:pt idx="3">
                  <c:v>218.4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</c:ser>
        <c:gapDepth val="0"/>
        <c:shape val="cylinder"/>
        <c:axId val="95388032"/>
        <c:axId val="95389568"/>
        <c:axId val="0"/>
      </c:bar3DChart>
      <c:catAx>
        <c:axId val="9538803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5389568"/>
        <c:crosses val="autoZero"/>
        <c:auto val="1"/>
        <c:lblAlgn val="ctr"/>
        <c:lblOffset val="100"/>
        <c:tickLblSkip val="1"/>
        <c:tickMarkSkip val="1"/>
      </c:catAx>
      <c:valAx>
        <c:axId val="9538956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538803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77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527850685331255E-2"/>
          <c:w val="0.94951159230096238"/>
          <c:h val="0.7989303003791196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одоснабжение; водоотведение, организация сбора и утилизация отходов, деятельности по ликвидации загрязнений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9</c:v>
                </c:pt>
                <c:pt idx="1">
                  <c:v>59.9</c:v>
                </c:pt>
                <c:pt idx="2">
                  <c:v>62.17</c:v>
                </c:pt>
                <c:pt idx="3">
                  <c:v>62.91</c:v>
                </c:pt>
                <c:pt idx="4">
                  <c:v>63.660000000000011</c:v>
                </c:pt>
                <c:pt idx="5">
                  <c:v>64.42</c:v>
                </c:pt>
              </c:numCache>
            </c:numRef>
          </c:val>
        </c:ser>
        <c:gapDepth val="0"/>
        <c:shape val="cylinder"/>
        <c:axId val="95461376"/>
        <c:axId val="96756096"/>
        <c:axId val="0"/>
      </c:bar3DChart>
      <c:catAx>
        <c:axId val="9546137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6756096"/>
        <c:crosses val="autoZero"/>
        <c:auto val="1"/>
        <c:lblAlgn val="ctr"/>
        <c:lblOffset val="100"/>
        <c:tickLblSkip val="1"/>
        <c:tickMarkSkip val="1"/>
      </c:catAx>
      <c:valAx>
        <c:axId val="9675609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5461376"/>
        <c:crosses val="autoZero"/>
        <c:crossBetween val="between"/>
      </c:valAx>
      <c:spPr>
        <a:noFill/>
        <a:ln w="2545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9100B6-2E6C-47E8-85C6-502A4B54A3E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62DF65-B9B8-494D-9BAB-AEB326080A6A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«Указные» категорий работников</a:t>
          </a:r>
          <a:endParaRPr lang="ru-RU" sz="1400" b="1" dirty="0">
            <a:solidFill>
              <a:srgbClr val="092D31"/>
            </a:solidFill>
          </a:endParaRPr>
        </a:p>
      </dgm:t>
    </dgm:pt>
    <dgm:pt modelId="{69177D32-DB5E-42DA-8CA8-91C98BFD116E}" type="parTrans" cxnId="{4194BC25-E972-42D5-B8BE-C6DD69ED1E4B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B048B449-E2BE-4C6C-8372-0D38445AE5E0}" type="sibTrans" cxnId="{4194BC25-E972-42D5-B8BE-C6DD69ED1E4B}">
      <dgm:prSet/>
      <dgm:spPr>
        <a:solidFill>
          <a:srgbClr val="8ECBCE">
            <a:alpha val="52000"/>
          </a:srgbClr>
        </a:solidFill>
      </dgm:spPr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AF739F2-0655-40C7-9E76-D843E0FD2C07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Прочий персонал  </a:t>
          </a:r>
          <a:endParaRPr lang="ru-RU" sz="1400" b="1" dirty="0">
            <a:solidFill>
              <a:srgbClr val="092D31"/>
            </a:solidFill>
          </a:endParaRPr>
        </a:p>
      </dgm:t>
    </dgm:pt>
    <dgm:pt modelId="{D38C57F2-0DAD-4279-B52C-B24558C844DB}" type="par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84C8466C-93DC-49A2-B2EB-67C159BA48A9}" type="sib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39EBD47-378E-4713-8F27-D6EAA9CF457C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униципальные служащие</a:t>
          </a:r>
          <a:endParaRPr lang="ru-RU" sz="1400" b="1" dirty="0">
            <a:solidFill>
              <a:srgbClr val="092D31"/>
            </a:solidFill>
          </a:endParaRPr>
        </a:p>
      </dgm:t>
    </dgm:pt>
    <dgm:pt modelId="{A6C5A37C-1079-485D-BDE4-A1DED1F72F5F}" type="par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3DF7FCB6-9AE3-40E4-8D5E-206EBB06E14F}" type="sib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5C05AFFC-3211-4091-9772-1C37041C6941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РОТ</a:t>
          </a:r>
          <a:endParaRPr lang="ru-RU" sz="1400" b="1" dirty="0">
            <a:solidFill>
              <a:srgbClr val="092D31"/>
            </a:solidFill>
          </a:endParaRPr>
        </a:p>
      </dgm:t>
    </dgm:pt>
    <dgm:pt modelId="{E27B9782-C031-4378-8A6B-B2D8FFDE91A7}" type="par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708335E-2ADB-4F02-BAD3-8919D2FD7DED}" type="sib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4188027-807C-4070-BD06-ADCBF5A656FE}" type="pres">
      <dgm:prSet presAssocID="{249100B6-2E6C-47E8-85C6-502A4B54A3E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FDCA320-7621-494B-BEB0-DF5978190B59}" type="pres">
      <dgm:prSet presAssocID="{249100B6-2E6C-47E8-85C6-502A4B54A3E1}" presName="cycle" presStyleCnt="0"/>
      <dgm:spPr/>
    </dgm:pt>
    <dgm:pt modelId="{138C3372-7BAD-446E-A2A0-C0AD768E0044}" type="pres">
      <dgm:prSet presAssocID="{FE62DF65-B9B8-494D-9BAB-AEB326080A6A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6B5A20-4E04-4209-99DF-2628BE5AA7E2}" type="pres">
      <dgm:prSet presAssocID="{B048B449-E2BE-4C6C-8372-0D38445AE5E0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4763DF3D-8D5C-4A7B-9EAA-E55A0485FB28}" type="pres">
      <dgm:prSet presAssocID="{AAF739F2-0655-40C7-9E76-D843E0FD2C07}" presName="nodeFollowingNodes" presStyleLbl="node1" presStyleIdx="1" presStyleCnt="4" custRadScaleRad="100894" custRadScaleInc="-21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1DA0B4-4EE5-40FD-9510-8A6EB439603C}" type="pres">
      <dgm:prSet presAssocID="{F39EBD47-378E-4713-8F27-D6EAA9CF457C}" presName="nodeFollowingNodes" presStyleLbl="node1" presStyleIdx="2" presStyleCnt="4" custScaleY="1551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08D13-32C7-4D48-B869-4D0C07F25A9D}" type="pres">
      <dgm:prSet presAssocID="{5C05AFFC-3211-4091-9772-1C37041C6941}" presName="nodeFollowingNodes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C09D51-2DF1-49BA-BD1E-13D772DC088C}" type="presOf" srcId="{AAF739F2-0655-40C7-9E76-D843E0FD2C07}" destId="{4763DF3D-8D5C-4A7B-9EAA-E55A0485FB28}" srcOrd="0" destOrd="0" presId="urn:microsoft.com/office/officeart/2005/8/layout/cycle3"/>
    <dgm:cxn modelId="{C9357B07-E381-424B-B699-0C66CD06EC7F}" type="presOf" srcId="{FE62DF65-B9B8-494D-9BAB-AEB326080A6A}" destId="{138C3372-7BAD-446E-A2A0-C0AD768E0044}" srcOrd="0" destOrd="0" presId="urn:microsoft.com/office/officeart/2005/8/layout/cycle3"/>
    <dgm:cxn modelId="{42314F8C-033B-4702-A891-FF1FA67E57BB}" type="presOf" srcId="{B048B449-E2BE-4C6C-8372-0D38445AE5E0}" destId="{C66B5A20-4E04-4209-99DF-2628BE5AA7E2}" srcOrd="0" destOrd="0" presId="urn:microsoft.com/office/officeart/2005/8/layout/cycle3"/>
    <dgm:cxn modelId="{799967FB-967A-49BF-B935-2B2A09AC15E8}" type="presOf" srcId="{5C05AFFC-3211-4091-9772-1C37041C6941}" destId="{BDB08D13-32C7-4D48-B869-4D0C07F25A9D}" srcOrd="0" destOrd="0" presId="urn:microsoft.com/office/officeart/2005/8/layout/cycle3"/>
    <dgm:cxn modelId="{4194BC25-E972-42D5-B8BE-C6DD69ED1E4B}" srcId="{249100B6-2E6C-47E8-85C6-502A4B54A3E1}" destId="{FE62DF65-B9B8-494D-9BAB-AEB326080A6A}" srcOrd="0" destOrd="0" parTransId="{69177D32-DB5E-42DA-8CA8-91C98BFD116E}" sibTransId="{B048B449-E2BE-4C6C-8372-0D38445AE5E0}"/>
    <dgm:cxn modelId="{6A289F69-7B97-42DC-A3EE-19126F2FB4E8}" type="presOf" srcId="{249100B6-2E6C-47E8-85C6-502A4B54A3E1}" destId="{F4188027-807C-4070-BD06-ADCBF5A656FE}" srcOrd="0" destOrd="0" presId="urn:microsoft.com/office/officeart/2005/8/layout/cycle3"/>
    <dgm:cxn modelId="{90CB8090-A947-456B-9E20-CAEC3FD17027}" type="presOf" srcId="{F39EBD47-378E-4713-8F27-D6EAA9CF457C}" destId="{CE1DA0B4-4EE5-40FD-9510-8A6EB439603C}" srcOrd="0" destOrd="0" presId="urn:microsoft.com/office/officeart/2005/8/layout/cycle3"/>
    <dgm:cxn modelId="{3441B760-95AE-4FB0-B20E-903AE5933E75}" srcId="{249100B6-2E6C-47E8-85C6-502A4B54A3E1}" destId="{F39EBD47-378E-4713-8F27-D6EAA9CF457C}" srcOrd="2" destOrd="0" parTransId="{A6C5A37C-1079-485D-BDE4-A1DED1F72F5F}" sibTransId="{3DF7FCB6-9AE3-40E4-8D5E-206EBB06E14F}"/>
    <dgm:cxn modelId="{2ED7A969-9CD5-4D1D-A927-1C72C295307C}" srcId="{249100B6-2E6C-47E8-85C6-502A4B54A3E1}" destId="{AAF739F2-0655-40C7-9E76-D843E0FD2C07}" srcOrd="1" destOrd="0" parTransId="{D38C57F2-0DAD-4279-B52C-B24558C844DB}" sibTransId="{84C8466C-93DC-49A2-B2EB-67C159BA48A9}"/>
    <dgm:cxn modelId="{44DDE6AC-E214-44B8-A832-4ABD005CD8A8}" srcId="{249100B6-2E6C-47E8-85C6-502A4B54A3E1}" destId="{5C05AFFC-3211-4091-9772-1C37041C6941}" srcOrd="3" destOrd="0" parTransId="{E27B9782-C031-4378-8A6B-B2D8FFDE91A7}" sibTransId="{A708335E-2ADB-4F02-BAD3-8919D2FD7DED}"/>
    <dgm:cxn modelId="{06E33C20-01B3-4736-AF20-0D3960809812}" type="presParOf" srcId="{F4188027-807C-4070-BD06-ADCBF5A656FE}" destId="{7FDCA320-7621-494B-BEB0-DF5978190B59}" srcOrd="0" destOrd="0" presId="urn:microsoft.com/office/officeart/2005/8/layout/cycle3"/>
    <dgm:cxn modelId="{4384435D-88C4-4F95-9A34-B566ED6E5F75}" type="presParOf" srcId="{7FDCA320-7621-494B-BEB0-DF5978190B59}" destId="{138C3372-7BAD-446E-A2A0-C0AD768E0044}" srcOrd="0" destOrd="0" presId="urn:microsoft.com/office/officeart/2005/8/layout/cycle3"/>
    <dgm:cxn modelId="{4B33BB7B-509F-46F5-AF9C-CE830D628139}" type="presParOf" srcId="{7FDCA320-7621-494B-BEB0-DF5978190B59}" destId="{C66B5A20-4E04-4209-99DF-2628BE5AA7E2}" srcOrd="1" destOrd="0" presId="urn:microsoft.com/office/officeart/2005/8/layout/cycle3"/>
    <dgm:cxn modelId="{410F792D-D881-45FC-8210-ACD4B6C0BDD5}" type="presParOf" srcId="{7FDCA320-7621-494B-BEB0-DF5978190B59}" destId="{4763DF3D-8D5C-4A7B-9EAA-E55A0485FB28}" srcOrd="2" destOrd="0" presId="urn:microsoft.com/office/officeart/2005/8/layout/cycle3"/>
    <dgm:cxn modelId="{146B73B1-526A-426E-8A6C-6C5E1C004063}" type="presParOf" srcId="{7FDCA320-7621-494B-BEB0-DF5978190B59}" destId="{CE1DA0B4-4EE5-40FD-9510-8A6EB439603C}" srcOrd="3" destOrd="0" presId="urn:microsoft.com/office/officeart/2005/8/layout/cycle3"/>
    <dgm:cxn modelId="{932771F2-EC42-4C22-B83F-7F6FB3F8C73C}" type="presParOf" srcId="{7FDCA320-7621-494B-BEB0-DF5978190B59}" destId="{BDB08D13-32C7-4D48-B869-4D0C07F25A9D}" srcOrd="4" destOrd="0" presId="urn:microsoft.com/office/officeart/2005/8/layout/cycle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png"/><Relationship Id="rId12" Type="http://schemas.microsoft.com/office/2007/relationships/hdphoto" Target="../media/hdphoto3.wdp"/><Relationship Id="rId17" Type="http://schemas.openxmlformats.org/officeDocument/2006/relationships/image" Target="../media/image31.png"/><Relationship Id="rId16" Type="http://schemas.microsoft.com/office/2007/relationships/hdphoto" Target="../media/hdphoto5.wdp"/><Relationship Id="rId1" Type="http://schemas.openxmlformats.org/officeDocument/2006/relationships/image" Target="../media/image29.png"/><Relationship Id="rId11" Type="http://schemas.microsoft.com/office/2007/relationships/hdphoto" Target="../media/hdphoto3.wdp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424</cdr:x>
      <cdr:y>0.08333</cdr:y>
    </cdr:from>
    <cdr:to>
      <cdr:x>0.42691</cdr:x>
      <cdr:y>0.1641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143140" y="285752"/>
          <a:ext cx="1455553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16</cdr:x>
      <cdr:y>0.39057</cdr:y>
    </cdr:from>
    <cdr:to>
      <cdr:x>0.25152</cdr:x>
      <cdr:y>0.68254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1430392" y="2256219"/>
          <a:ext cx="1314017" cy="3172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 302 456,55</a:t>
          </a:r>
          <a:endParaRPr lang="ru-RU" sz="16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977</cdr:x>
      <cdr:y>0.10416</cdr:y>
    </cdr:from>
    <cdr:to>
      <cdr:x>0.35244</cdr:x>
      <cdr:y>0.1849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142976" y="357166"/>
          <a:ext cx="1097827" cy="2770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4844</cdr:x>
      <cdr:y>0.02326</cdr:y>
    </cdr:from>
    <cdr:to>
      <cdr:x>0.23437</cdr:x>
      <cdr:y>0.11343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357290" y="71438"/>
          <a:ext cx="785786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единиц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0937</cdr:x>
      <cdr:y>0.04444</cdr:y>
    </cdr:from>
    <cdr:to>
      <cdr:x>0.29687</cdr:x>
      <cdr:y>0.1880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00034" y="142876"/>
          <a:ext cx="857256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тыс. человек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4063</cdr:x>
      <cdr:y>0.08889</cdr:y>
    </cdr:from>
    <cdr:to>
      <cdr:x>0.39062</cdr:x>
      <cdr:y>0.1696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42942" y="285752"/>
          <a:ext cx="1142975" cy="2596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рд. рублей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5</cdr:x>
      <cdr:y>0.10316</cdr:y>
    </cdr:to>
    <cdr:sp macro="" textlink="">
      <cdr:nvSpPr>
        <cdr:cNvPr id="2" name="Rectangl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0"/>
          <a:ext cx="9144000" cy="9286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2600" kern="0" dirty="0">
              <a:solidFill>
                <a:srgbClr val="000000"/>
              </a:solidFill>
              <a:cs typeface="Arial"/>
            </a:rPr>
            <a:t/>
          </a:r>
          <a:br>
            <a:rPr lang="ru-RU" sz="2600" kern="0" dirty="0">
              <a:solidFill>
                <a:srgbClr val="000000"/>
              </a:solidFill>
              <a:cs typeface="Arial"/>
            </a:rPr>
          </a:b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СТРУКТУРА  НАЛОГОВЫХ И НЕНАЛОГОВЫХ </a:t>
          </a:r>
          <a:r>
            <a:rPr lang="ru-RU" sz="2400" kern="0" dirty="0" smtClean="0">
              <a:latin typeface="Times New Roman" pitchFamily="18" charset="0"/>
              <a:cs typeface="Times New Roman" pitchFamily="18" charset="0"/>
            </a:rPr>
            <a:t>ДОХОДОВ</a:t>
          </a: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БЮДЖЕТА КУРСКОГО МУНИЦИПАЛЬНОГО РАЙОНА </a:t>
          </a:r>
          <a:endParaRPr lang="en-US" sz="2400" b="0" kern="0" dirty="0" smtClean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pPr algn="ctr">
            <a:defRPr/>
          </a:pPr>
          <a:r>
            <a:rPr lang="ru-RU" sz="2200" b="0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rPr>
            <a:t> </a:t>
          </a:r>
          <a:endParaRPr lang="ru-RU" sz="2200" b="0" kern="0" dirty="0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3225</cdr:x>
      <cdr:y>0.80702</cdr:y>
    </cdr:from>
    <cdr:to>
      <cdr:x>0.19657</cdr:x>
      <cdr:y>0.85965</cdr:y>
    </cdr:to>
    <cdr:sp macro="" textlink="">
      <cdr:nvSpPr>
        <cdr:cNvPr id="4" name="Соединительная линия уступом 3"/>
        <cdr:cNvSpPr/>
      </cdr:nvSpPr>
      <cdr:spPr>
        <a:xfrm xmlns:a="http://schemas.openxmlformats.org/drawingml/2006/main" flipV="1">
          <a:off x="285720" y="3286148"/>
          <a:ext cx="1455545" cy="214314"/>
        </a:xfrm>
        <a:prstGeom xmlns:a="http://schemas.openxmlformats.org/drawingml/2006/main" prst="bentConnector3">
          <a:avLst>
            <a:gd name="adj1" fmla="val 81840"/>
          </a:avLst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3225</cdr:x>
      <cdr:y>0.06844</cdr:y>
    </cdr:from>
    <cdr:to>
      <cdr:x>0.15625</cdr:x>
      <cdr:y>0.1539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5720" y="278685"/>
          <a:ext cx="1098386" cy="3483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дотации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2343</cdr:x>
      <cdr:y>0.89091</cdr:y>
    </cdr:from>
    <cdr:to>
      <cdr:x>0.11718</cdr:x>
      <cdr:y>0.9692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14282" y="3500462"/>
          <a:ext cx="85725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sz="1400" i="1" dirty="0" smtClean="0">
              <a:latin typeface="Times New Roman" pitchFamily="18" charset="0"/>
              <a:cs typeface="Times New Roman" pitchFamily="18" charset="0"/>
            </a:rPr>
            <a:t>млн. руб.</a:t>
          </a:r>
          <a:endParaRPr lang="ru-RU" sz="1400" i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503</cdr:x>
      <cdr:y>0.14583</cdr:y>
    </cdr:from>
    <cdr:to>
      <cdr:x>0.2416</cdr:x>
      <cdr:y>0.2916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2844" y="1000108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9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38 717,58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34375</cdr:y>
    </cdr:from>
    <cdr:to>
      <cdr:x>0.24159</cdr:x>
      <cdr:y>0.489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2844" y="2357430"/>
          <a:ext cx="2152596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0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2 502,57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54167</cdr:y>
    </cdr:from>
    <cdr:to>
      <cdr:x>0.2416</cdr:x>
      <cdr:y>0.6874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42844" y="3714752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1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1 983,89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41</cdr:x>
      <cdr:y>0.09375</cdr:y>
    </cdr:from>
    <cdr:to>
      <cdr:x>0.9624</cdr:x>
      <cdr:y>0.14311</cdr:y>
    </cdr:to>
    <cdr:sp macro="" textlink="">
      <cdr:nvSpPr>
        <cdr:cNvPr id="6" name="Text Box 3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956372" y="642918"/>
          <a:ext cx="118762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600" b="1" i="1" dirty="0">
              <a:latin typeface="Times New Roman" pitchFamily="18" charset="0"/>
              <a:cs typeface="Times New Roman" pitchFamily="18" charset="0"/>
            </a:rPr>
            <a:t>тыс. 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руб.</a:t>
          </a:r>
          <a:endParaRPr lang="ru-RU" sz="1600" b="1" i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468</cdr:x>
      <cdr:y>0.70833</cdr:y>
    </cdr:from>
    <cdr:to>
      <cdr:x>0.5</cdr:x>
      <cdr:y>0.937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00034" y="4857760"/>
          <a:ext cx="4071966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образования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3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циальная поддержка граждан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 23,7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правление финансами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8,3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хранение и развитие культуры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,4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физической культуры и спорт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сельского хозяйств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0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малого и среднего  бизнеса, потребительского рынка, снижение административных барьеров – 0,8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Профилактика правонарушений в Курском районе – 0,01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8281</cdr:x>
      <cdr:y>0.73959</cdr:y>
    </cdr:from>
    <cdr:to>
      <cdr:x>0.39843</cdr:x>
      <cdr:y>0.7604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500430" y="5072074"/>
          <a:ext cx="142830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0469</cdr:x>
      <cdr:y>0.77084</cdr:y>
    </cdr:from>
    <cdr:to>
      <cdr:x>0.31961</cdr:x>
      <cdr:y>0.79167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786050" y="5286388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5156</cdr:x>
      <cdr:y>0.85417</cdr:y>
    </cdr:from>
    <cdr:to>
      <cdr:x>0.36647</cdr:x>
      <cdr:y>0.875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3214678" y="5857892"/>
          <a:ext cx="136337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CC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79167</cdr:y>
    </cdr:from>
    <cdr:to>
      <cdr:x>0.38992</cdr:x>
      <cdr:y>0.8125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3428992" y="5429264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99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29687</cdr:x>
      <cdr:y>0.29167</cdr:y>
    </cdr:from>
    <cdr:to>
      <cdr:x>0.37957</cdr:x>
      <cdr:y>0.34376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2714612" y="2000240"/>
          <a:ext cx="756208" cy="357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3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2656</cdr:x>
      <cdr:y>0.29167</cdr:y>
    </cdr:from>
    <cdr:to>
      <cdr:x>0.80927</cdr:x>
      <cdr:y>0.3437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6643702" y="2000240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23,7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0313</cdr:x>
      <cdr:y>0.4375</cdr:y>
    </cdr:from>
    <cdr:to>
      <cdr:x>0.78584</cdr:x>
      <cdr:y>0.4895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429388" y="3000372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,4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52344</cdr:x>
      <cdr:y>0.42708</cdr:y>
    </cdr:from>
    <cdr:to>
      <cdr:x>0.60615</cdr:x>
      <cdr:y>0.47916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4786314" y="292893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8,3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39319</cdr:x>
      <cdr:y>0.45986</cdr:y>
    </cdr:from>
    <cdr:to>
      <cdr:x>0.43225</cdr:x>
      <cdr:y>0.57014</cdr:y>
    </cdr:to>
    <cdr:sp macro="" textlink="">
      <cdr:nvSpPr>
        <cdr:cNvPr id="18" name="TextBox 1"/>
        <cdr:cNvSpPr txBox="1"/>
      </cdr:nvSpPr>
      <cdr:spPr>
        <a:xfrm xmlns:a="http://schemas.openxmlformats.org/drawingml/2006/main" rot="15983759">
          <a:off x="3395718" y="3353294"/>
          <a:ext cx="756300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0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64844</cdr:x>
      <cdr:y>0.58333</cdr:y>
    </cdr:from>
    <cdr:to>
      <cdr:x>0.73115</cdr:x>
      <cdr:y>0.63541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929322" y="400050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42969</cdr:x>
      <cdr:y>0.82292</cdr:y>
    </cdr:from>
    <cdr:to>
      <cdr:x>0.44461</cdr:x>
      <cdr:y>0.84376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3929058" y="5643578"/>
          <a:ext cx="136428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20833</cdr:y>
    </cdr:from>
    <cdr:to>
      <cdr:x>0.44922</cdr:x>
      <cdr:y>0.30253</cdr:y>
    </cdr:to>
    <cdr:pic>
      <cdr:nvPicPr>
        <cdr:cNvPr id="21" name="Picture 3" descr="D:\Users\krdoas\Pictures\учебник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biLevel thresh="50000"/>
          <a:extLst>
            <a:ext uri="{BEBA8EAE-BF5A-486C-A8C5-ECC9F3942E4B}">
              <a14:imgProps xmlns="" xmlns:a14="http://schemas.microsoft.com/office/drawing/2010/main" xmlns:p="http://schemas.openxmlformats.org/presentationml/2006/main" xmlns:lc="http://schemas.openxmlformats.org/drawingml/2006/lockedCanvas">
                <a14:imgLayer r:embed="rId12">
                  <a14:imgEffect>
                    <a14:brightnessContrast bright="-66000"/>
                  </a14:imgEffect>
                </a14:imgLayer>
              </a14:imgProps>
            </a:ext>
          </a:extLst>
        </a:blip>
        <a:srcRect xmlns:a="http://schemas.openxmlformats.org/drawingml/2006/main" r="62010" b="10032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3428992" y="1428736"/>
          <a:ext cx="678647" cy="646023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  <cdr:relSizeAnchor xmlns:cdr="http://schemas.openxmlformats.org/drawingml/2006/chartDrawing">
    <cdr:from>
      <cdr:x>0.60938</cdr:x>
      <cdr:y>0.61458</cdr:y>
    </cdr:from>
    <cdr:to>
      <cdr:x>0.66407</cdr:x>
      <cdr:y>0.6875</cdr:y>
    </cdr:to>
    <cdr:pic>
      <cdr:nvPicPr>
        <cdr:cNvPr id="22" name="Picture 6" descr="Похожее изображение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3" cstate="print">
          <a:biLevel thresh="50000"/>
          <a:extLst>
            <a:ext uri="{BEBA8EAE-BF5A-486C-A8C5-ECC9F3942E4B}">
              <a14:imgProps xmlns:p="http://schemas.openxmlformats.org/presentationml/2006/main" xmlns:a14="http://schemas.microsoft.com/office/drawing/2010/main" xmlns="" xmlns:lc="http://schemas.openxmlformats.org/drawingml/2006/lockedCanvas">
                <a14:imgLayer r:embed="rId16">
                  <a14:imgEffect>
                    <a14:brightnessContrast contrast="-68000"/>
                  </a14:imgEffect>
                </a14:imgLayer>
              </a14:imgProps>
            </a:ext>
            <a:ext uri="{28A0092B-C50C-407E-A947-70E740481C1C}">
              <a14:useLocalDpi xmlns:p="http://schemas.openxmlformats.org/presentationml/2006/main" xmlns:a14="http://schemas.microsoft.com/office/drawing/2010/main" xmlns="" xmlns:lc="http://schemas.openxmlformats.org/drawingml/2006/lockedCanvas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5572132" y="4214818"/>
          <a:ext cx="500085" cy="500085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r="http://schemas.openxmlformats.org/officeDocument/2006/relationships" xmlns:p="http://schemas.openxmlformats.org/presentationml/2006/main" xmlns:a14="http://schemas.microsoft.com/office/drawing/2010/main" xmlns="" xmlns:lc="http://schemas.openxmlformats.org/drawingml/2006/lockedCanvas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39062</cdr:x>
      <cdr:y>0.57292</cdr:y>
    </cdr:from>
    <cdr:to>
      <cdr:x>0.45312</cdr:x>
      <cdr:y>0.64584</cdr:y>
    </cdr:to>
    <cdr:grpSp>
      <cdr:nvGrpSpPr>
        <cdr:cNvPr id="23" name="Группа 22"/>
        <cdr:cNvGrpSpPr/>
      </cdr:nvGrpSpPr>
      <cdr:grpSpPr>
        <a:xfrm xmlns:a="http://schemas.openxmlformats.org/drawingml/2006/main">
          <a:off x="3571829" y="3929085"/>
          <a:ext cx="571500" cy="500086"/>
          <a:chOff x="7794234" y="2375931"/>
          <a:chExt cx="892814" cy="892814"/>
        </a:xfrm>
      </cdr:grpSpPr>
      <cdr:pic>
        <cdr:nvPicPr>
          <cdr:cNvPr id="25" name="Picture 30" descr="Картинки по запросу tractor icon"/>
          <cdr:cNvPicPr>
            <a:picLocks xmlns:a="http://schemas.openxmlformats.org/drawingml/2006/main" noChangeAspect="1" noChangeArrowheads="1"/>
          </cdr:cNvPicPr>
        </cdr:nvPicPr>
        <cdr:blipFill>
          <a:blip xmlns:a="http://schemas.openxmlformats.org/drawingml/2006/main" xmlns:r="http://schemas.openxmlformats.org/officeDocument/2006/relationships" r:embed="rId17" cstate="print">
            <a:biLevel thresh="50000"/>
            <a:extLst>
              <a:ext uri="{BEBA8EAE-BF5A-486C-A8C5-ECC9F3942E4B}">
                <a14:imgProps xmlns:p="http://schemas.openxmlformats.org/presentationml/2006/main" xmlns:a14="http://schemas.microsoft.com/office/drawing/2010/main" xmlns="" xmlns:lc="http://schemas.openxmlformats.org/drawingml/2006/lockedCanvas">
                  <a14:imgLayer r:embed="rId11">
                    <a14:imgEffect>
                      <a14:brightnessContrast contrast="-64000"/>
                    </a14:imgEffect>
                  </a14:imgLayer>
                </a14:imgProps>
              </a:ext>
              <a:ext uri="{28A0092B-C50C-407E-A947-70E740481C1C}">
                <a14:useLocalDpi xmlns:p="http://schemas.openxmlformats.org/presentationml/2006/main" xmlns:a14="http://schemas.microsoft.com/office/drawing/2010/main" xmlns="" xmlns:lc="http://schemas.openxmlformats.org/drawingml/2006/lockedCanvas" val="0"/>
              </a:ext>
            </a:extLst>
          </a:blip>
          <a:srcRect xmlns:a="http://schemas.openxmlformats.org/drawingml/2006/main"/>
          <a:stretch xmlns:a="http://schemas.openxmlformats.org/drawingml/2006/main">
            <a:fillRect/>
          </a:stretch>
        </cdr:blipFill>
        <cdr:spPr bwMode="auto">
          <a:xfrm xmlns:a="http://schemas.openxmlformats.org/drawingml/2006/main">
            <a:off x="7794234" y="2375931"/>
            <a:ext cx="892814" cy="892814"/>
          </a:xfrm>
          <a:prstGeom xmlns:a="http://schemas.openxmlformats.org/drawingml/2006/main" prst="rect">
            <a:avLst/>
          </a:prstGeom>
          <a:noFill xmlns:a="http://schemas.openxmlformats.org/drawingml/2006/main"/>
          <a:extLst xmlns:a="http://schemas.openxmlformats.org/drawingml/2006/main">
            <a:ext uri="{909E8E84-426E-40DD-AFC4-6F175D3DCCD1}">
              <a14:hiddenFill xmlns:r="http://schemas.openxmlformats.org/officeDocument/2006/relationships" xmlns:p="http://schemas.openxmlformats.org/presentationml/2006/main" xmlns:a14="http://schemas.microsoft.com/office/drawing/2010/main" xmlns="" xmlns:lc="http://schemas.openxmlformats.org/drawingml/2006/lockedCanvas">
                <a:solidFill>
                  <a:srgbClr val="FFFFFF"/>
                </a:solidFill>
              </a14:hiddenFill>
            </a:ext>
          </a:extLst>
        </cdr:spPr>
      </cdr:pic>
    </cdr:grpSp>
  </cdr:relSizeAnchor>
  <cdr:relSizeAnchor xmlns:cdr="http://schemas.openxmlformats.org/drawingml/2006/chartDrawing">
    <cdr:from>
      <cdr:x>0.53125</cdr:x>
      <cdr:y>0.5</cdr:y>
    </cdr:from>
    <cdr:to>
      <cdr:x>0.57587</cdr:x>
      <cdr:y>0.57254</cdr:y>
    </cdr:to>
    <cdr:grpSp>
      <cdr:nvGrpSpPr>
        <cdr:cNvPr id="28" name="Shape 448"/>
        <cdr:cNvGrpSpPr>
          <a:grpSpLocks xmlns:a="http://schemas.openxmlformats.org/drawingml/2006/main"/>
        </cdr:cNvGrpSpPr>
      </cdr:nvGrpSpPr>
      <cdr:grpSpPr bwMode="auto">
        <a:xfrm xmlns:a="http://schemas.openxmlformats.org/drawingml/2006/main">
          <a:off x="4857750" y="3429000"/>
          <a:ext cx="408005" cy="497479"/>
          <a:chOff x="564164" y="-342495"/>
          <a:chExt cx="358867" cy="426868"/>
        </a:xfrm>
      </cdr:grpSpPr>
      <cdr:sp macro="" textlink="">
        <cdr:nvSpPr>
          <cdr:cNvPr id="29" name="Shape 449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64164" y="-321580"/>
            <a:ext cx="340656" cy="405953"/>
          </a:xfrm>
          <a:custGeom xmlns:a="http://schemas.openxmlformats.org/drawingml/2006/main">
            <a:avLst/>
            <a:gdLst>
              <a:gd name="T0" fmla="*/ 2147483647 w 15490"/>
              <a:gd name="T1" fmla="*/ 2147483647 h 18924"/>
              <a:gd name="T2" fmla="*/ 2147483647 w 15490"/>
              <a:gd name="T3" fmla="*/ 2147483647 h 18924"/>
              <a:gd name="T4" fmla="*/ 2147483647 w 15490"/>
              <a:gd name="T5" fmla="*/ 2147483647 h 18924"/>
              <a:gd name="T6" fmla="*/ 2147483647 w 15490"/>
              <a:gd name="T7" fmla="*/ 2147483647 h 18924"/>
              <a:gd name="T8" fmla="*/ 2147483647 w 15490"/>
              <a:gd name="T9" fmla="*/ 2147483647 h 18924"/>
              <a:gd name="T10" fmla="*/ 2147483647 w 15490"/>
              <a:gd name="T11" fmla="*/ 2147483647 h 18924"/>
              <a:gd name="T12" fmla="*/ 2147483647 w 15490"/>
              <a:gd name="T13" fmla="*/ 2147483647 h 18924"/>
              <a:gd name="T14" fmla="*/ 2147483647 w 15490"/>
              <a:gd name="T15" fmla="*/ 2147483647 h 18924"/>
              <a:gd name="T16" fmla="*/ 2147483647 w 15490"/>
              <a:gd name="T17" fmla="*/ 2147483647 h 18924"/>
              <a:gd name="T18" fmla="*/ 2147483647 w 15490"/>
              <a:gd name="T19" fmla="*/ 2147483647 h 18924"/>
              <a:gd name="T20" fmla="*/ 2147483647 w 15490"/>
              <a:gd name="T21" fmla="*/ 2147483647 h 18924"/>
              <a:gd name="T22" fmla="*/ 2147483647 w 15490"/>
              <a:gd name="T23" fmla="*/ 2147483647 h 18924"/>
              <a:gd name="T24" fmla="*/ 2147483647 w 15490"/>
              <a:gd name="T25" fmla="*/ 2147483647 h 18924"/>
              <a:gd name="T26" fmla="*/ 2147483647 w 15490"/>
              <a:gd name="T27" fmla="*/ 2147483647 h 18924"/>
              <a:gd name="T28" fmla="*/ 2147483647 w 15490"/>
              <a:gd name="T29" fmla="*/ 2147483647 h 18924"/>
              <a:gd name="T30" fmla="*/ 2147483647 w 15490"/>
              <a:gd name="T31" fmla="*/ 2147483647 h 18924"/>
              <a:gd name="T32" fmla="*/ 2147483647 w 15490"/>
              <a:gd name="T33" fmla="*/ 2147483647 h 18924"/>
              <a:gd name="T34" fmla="*/ 2147483647 w 15490"/>
              <a:gd name="T35" fmla="*/ 2147483647 h 18924"/>
              <a:gd name="T36" fmla="*/ 2147483647 w 15490"/>
              <a:gd name="T37" fmla="*/ 2147483647 h 18924"/>
              <a:gd name="T38" fmla="*/ 0 w 15490"/>
              <a:gd name="T39" fmla="*/ 2147483647 h 18924"/>
              <a:gd name="T40" fmla="*/ 0 w 15490"/>
              <a:gd name="T41" fmla="*/ 2147483647 h 18924"/>
              <a:gd name="T42" fmla="*/ 0 w 15490"/>
              <a:gd name="T43" fmla="*/ 2147483647 h 18924"/>
              <a:gd name="T44" fmla="*/ 2147483647 w 15490"/>
              <a:gd name="T45" fmla="*/ 2147483647 h 18924"/>
              <a:gd name="T46" fmla="*/ 2147483647 w 15490"/>
              <a:gd name="T47" fmla="*/ 2147483647 h 18924"/>
              <a:gd name="T48" fmla="*/ 2147483647 w 15490"/>
              <a:gd name="T49" fmla="*/ 2147483647 h 18924"/>
              <a:gd name="T50" fmla="*/ 2147483647 w 15490"/>
              <a:gd name="T51" fmla="*/ 2147483647 h 18924"/>
              <a:gd name="T52" fmla="*/ 2147483647 w 15490"/>
              <a:gd name="T53" fmla="*/ 2147483647 h 18924"/>
              <a:gd name="T54" fmla="*/ 2147483647 w 15490"/>
              <a:gd name="T55" fmla="*/ 2147483647 h 18924"/>
              <a:gd name="T56" fmla="*/ 2147483647 w 15490"/>
              <a:gd name="T57" fmla="*/ 2147483647 h 18924"/>
              <a:gd name="T58" fmla="*/ 2147483647 w 15490"/>
              <a:gd name="T59" fmla="*/ 0 h 189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5490"/>
              <a:gd name="T91" fmla="*/ 0 h 18924"/>
              <a:gd name="T92" fmla="*/ 15490 w 15490"/>
              <a:gd name="T93" fmla="*/ 18924 h 1892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5490" h="18924" fill="none" extrusionOk="0">
                <a:moveTo>
                  <a:pt x="15490" y="17828"/>
                </a:moveTo>
                <a:lnTo>
                  <a:pt x="15490" y="17828"/>
                </a:lnTo>
                <a:lnTo>
                  <a:pt x="15466" y="17998"/>
                </a:lnTo>
                <a:lnTo>
                  <a:pt x="15417" y="18169"/>
                </a:lnTo>
                <a:lnTo>
                  <a:pt x="15319" y="18364"/>
                </a:lnTo>
                <a:lnTo>
                  <a:pt x="15198" y="18534"/>
                </a:lnTo>
                <a:lnTo>
                  <a:pt x="15052" y="18680"/>
                </a:lnTo>
                <a:lnTo>
                  <a:pt x="14881" y="18802"/>
                </a:lnTo>
                <a:lnTo>
                  <a:pt x="14735" y="18900"/>
                </a:lnTo>
                <a:lnTo>
                  <a:pt x="14564" y="18924"/>
                </a:lnTo>
                <a:lnTo>
                  <a:pt x="1023" y="18924"/>
                </a:lnTo>
                <a:lnTo>
                  <a:pt x="853" y="18900"/>
                </a:lnTo>
                <a:lnTo>
                  <a:pt x="682" y="18802"/>
                </a:lnTo>
                <a:lnTo>
                  <a:pt x="512" y="18680"/>
                </a:lnTo>
                <a:lnTo>
                  <a:pt x="341" y="18534"/>
                </a:lnTo>
                <a:lnTo>
                  <a:pt x="219" y="18364"/>
                </a:lnTo>
                <a:lnTo>
                  <a:pt x="98" y="18169"/>
                </a:lnTo>
                <a:lnTo>
                  <a:pt x="25" y="17998"/>
                </a:lnTo>
                <a:lnTo>
                  <a:pt x="0" y="17828"/>
                </a:lnTo>
                <a:lnTo>
                  <a:pt x="0" y="877"/>
                </a:lnTo>
                <a:lnTo>
                  <a:pt x="25" y="706"/>
                </a:lnTo>
                <a:lnTo>
                  <a:pt x="98" y="560"/>
                </a:lnTo>
                <a:lnTo>
                  <a:pt x="195" y="414"/>
                </a:lnTo>
                <a:lnTo>
                  <a:pt x="341" y="268"/>
                </a:lnTo>
                <a:lnTo>
                  <a:pt x="487" y="171"/>
                </a:lnTo>
                <a:lnTo>
                  <a:pt x="658" y="73"/>
                </a:lnTo>
                <a:lnTo>
                  <a:pt x="828" y="24"/>
                </a:lnTo>
                <a:lnTo>
                  <a:pt x="974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0" name="Shape 450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90929" y="-342495"/>
            <a:ext cx="332102" cy="397094"/>
          </a:xfrm>
          <a:custGeom xmlns:a="http://schemas.openxmlformats.org/drawingml/2006/main">
            <a:avLst/>
            <a:gdLst>
              <a:gd name="T0" fmla="*/ 2147483647 w 15101"/>
              <a:gd name="T1" fmla="*/ 2147483647 h 18511"/>
              <a:gd name="T2" fmla="*/ 2147483647 w 15101"/>
              <a:gd name="T3" fmla="*/ 2147483647 h 18511"/>
              <a:gd name="T4" fmla="*/ 2147483647 w 15101"/>
              <a:gd name="T5" fmla="*/ 2147483647 h 18511"/>
              <a:gd name="T6" fmla="*/ 2147483647 w 15101"/>
              <a:gd name="T7" fmla="*/ 2147483647 h 18511"/>
              <a:gd name="T8" fmla="*/ 2147483647 w 15101"/>
              <a:gd name="T9" fmla="*/ 2147483647 h 18511"/>
              <a:gd name="T10" fmla="*/ 2147483647 w 15101"/>
              <a:gd name="T11" fmla="*/ 2147483647 h 18511"/>
              <a:gd name="T12" fmla="*/ 2147483647 w 15101"/>
              <a:gd name="T13" fmla="*/ 2147483647 h 18511"/>
              <a:gd name="T14" fmla="*/ 2147483647 w 15101"/>
              <a:gd name="T15" fmla="*/ 2147483647 h 18511"/>
              <a:gd name="T16" fmla="*/ 2147483647 w 15101"/>
              <a:gd name="T17" fmla="*/ 2147483647 h 18511"/>
              <a:gd name="T18" fmla="*/ 2147483647 w 15101"/>
              <a:gd name="T19" fmla="*/ 2147483647 h 18511"/>
              <a:gd name="T20" fmla="*/ 2147483647 w 15101"/>
              <a:gd name="T21" fmla="*/ 2147483647 h 18511"/>
              <a:gd name="T22" fmla="*/ 2147483647 w 15101"/>
              <a:gd name="T23" fmla="*/ 2147483647 h 18511"/>
              <a:gd name="T24" fmla="*/ 2147483647 w 15101"/>
              <a:gd name="T25" fmla="*/ 2147483647 h 18511"/>
              <a:gd name="T26" fmla="*/ 2147483647 w 15101"/>
              <a:gd name="T27" fmla="*/ 2147483647 h 18511"/>
              <a:gd name="T28" fmla="*/ 2147483647 w 15101"/>
              <a:gd name="T29" fmla="*/ 2147483647 h 18511"/>
              <a:gd name="T30" fmla="*/ 2147483647 w 15101"/>
              <a:gd name="T31" fmla="*/ 2147483647 h 18511"/>
              <a:gd name="T32" fmla="*/ 2147483647 w 15101"/>
              <a:gd name="T33" fmla="*/ 2147483647 h 18511"/>
              <a:gd name="T34" fmla="*/ 2147483647 w 15101"/>
              <a:gd name="T35" fmla="*/ 2147483647 h 18511"/>
              <a:gd name="T36" fmla="*/ 2147483647 w 15101"/>
              <a:gd name="T37" fmla="*/ 2147483647 h 18511"/>
              <a:gd name="T38" fmla="*/ 2147483647 w 15101"/>
              <a:gd name="T39" fmla="*/ 2147483647 h 18511"/>
              <a:gd name="T40" fmla="*/ 2147483647 w 15101"/>
              <a:gd name="T41" fmla="*/ 2147483647 h 18511"/>
              <a:gd name="T42" fmla="*/ 2147483647 w 15101"/>
              <a:gd name="T43" fmla="*/ 2147483647 h 18511"/>
              <a:gd name="T44" fmla="*/ 2147483647 w 15101"/>
              <a:gd name="T45" fmla="*/ 2147483647 h 18511"/>
              <a:gd name="T46" fmla="*/ 2147483647 w 15101"/>
              <a:gd name="T47" fmla="*/ 2147483647 h 18511"/>
              <a:gd name="T48" fmla="*/ 2147483647 w 15101"/>
              <a:gd name="T49" fmla="*/ 2147483647 h 18511"/>
              <a:gd name="T50" fmla="*/ 2147483647 w 15101"/>
              <a:gd name="T51" fmla="*/ 2147483647 h 18511"/>
              <a:gd name="T52" fmla="*/ 2147483647 w 15101"/>
              <a:gd name="T53" fmla="*/ 2147483647 h 18511"/>
              <a:gd name="T54" fmla="*/ 2147483647 w 15101"/>
              <a:gd name="T55" fmla="*/ 2147483647 h 18511"/>
              <a:gd name="T56" fmla="*/ 2147483647 w 15101"/>
              <a:gd name="T57" fmla="*/ 2147483647 h 18511"/>
              <a:gd name="T58" fmla="*/ 2147483647 w 15101"/>
              <a:gd name="T59" fmla="*/ 2147483647 h 18511"/>
              <a:gd name="T60" fmla="*/ 2147483647 w 15101"/>
              <a:gd name="T61" fmla="*/ 2147483647 h 18511"/>
              <a:gd name="T62" fmla="*/ 2147483647 w 15101"/>
              <a:gd name="T63" fmla="*/ 2147483647 h 185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5101"/>
              <a:gd name="T97" fmla="*/ 0 h 18511"/>
              <a:gd name="T98" fmla="*/ 15101 w 15101"/>
              <a:gd name="T99" fmla="*/ 18511 h 185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5101" h="18511" fill="none" extrusionOk="0">
                <a:moveTo>
                  <a:pt x="15101" y="3362"/>
                </a:moveTo>
                <a:lnTo>
                  <a:pt x="15101" y="17731"/>
                </a:lnTo>
                <a:lnTo>
                  <a:pt x="15077" y="17877"/>
                </a:lnTo>
                <a:lnTo>
                  <a:pt x="15028" y="18024"/>
                </a:lnTo>
                <a:lnTo>
                  <a:pt x="14979" y="18145"/>
                </a:lnTo>
                <a:lnTo>
                  <a:pt x="14882" y="18267"/>
                </a:lnTo>
                <a:lnTo>
                  <a:pt x="14760" y="18365"/>
                </a:lnTo>
                <a:lnTo>
                  <a:pt x="14614" y="18438"/>
                </a:lnTo>
                <a:lnTo>
                  <a:pt x="14468" y="18486"/>
                </a:lnTo>
                <a:lnTo>
                  <a:pt x="14322" y="18511"/>
                </a:lnTo>
                <a:lnTo>
                  <a:pt x="780" y="18511"/>
                </a:lnTo>
                <a:lnTo>
                  <a:pt x="634" y="18486"/>
                </a:lnTo>
                <a:lnTo>
                  <a:pt x="488" y="18438"/>
                </a:lnTo>
                <a:lnTo>
                  <a:pt x="342" y="18365"/>
                </a:lnTo>
                <a:lnTo>
                  <a:pt x="220" y="18267"/>
                </a:lnTo>
                <a:lnTo>
                  <a:pt x="123" y="18145"/>
                </a:lnTo>
                <a:lnTo>
                  <a:pt x="74" y="18024"/>
                </a:lnTo>
                <a:lnTo>
                  <a:pt x="25" y="17877"/>
                </a:lnTo>
                <a:lnTo>
                  <a:pt x="1" y="17731"/>
                </a:lnTo>
                <a:lnTo>
                  <a:pt x="1" y="780"/>
                </a:lnTo>
                <a:lnTo>
                  <a:pt x="25" y="610"/>
                </a:lnTo>
                <a:lnTo>
                  <a:pt x="74" y="464"/>
                </a:lnTo>
                <a:lnTo>
                  <a:pt x="123" y="342"/>
                </a:lnTo>
                <a:lnTo>
                  <a:pt x="220" y="220"/>
                </a:lnTo>
                <a:lnTo>
                  <a:pt x="342" y="123"/>
                </a:lnTo>
                <a:lnTo>
                  <a:pt x="488" y="50"/>
                </a:lnTo>
                <a:lnTo>
                  <a:pt x="634" y="1"/>
                </a:lnTo>
                <a:lnTo>
                  <a:pt x="780" y="1"/>
                </a:lnTo>
                <a:lnTo>
                  <a:pt x="1174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1" name="Shape 451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61927"/>
            <a:ext cx="117855" cy="21"/>
          </a:xfrm>
          <a:custGeom xmlns:a="http://schemas.openxmlformats.org/drawingml/2006/main">
            <a:avLst/>
            <a:gdLst>
              <a:gd name="T0" fmla="*/ 2147483647 w 5359"/>
              <a:gd name="T1" fmla="*/ 0 h 1"/>
              <a:gd name="T2" fmla="*/ 0 w 5359"/>
              <a:gd name="T3" fmla="*/ 0 h 1"/>
              <a:gd name="T4" fmla="*/ 0 60000 65536"/>
              <a:gd name="T5" fmla="*/ 0 60000 65536"/>
              <a:gd name="T6" fmla="*/ 0 w 5359"/>
              <a:gd name="T7" fmla="*/ 0 h 1"/>
              <a:gd name="T8" fmla="*/ 5359 w 5359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359" h="1" fill="none" extrusionOk="0">
                <a:moveTo>
                  <a:pt x="5358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2" name="Shape 452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08949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3" name="Shape 453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56486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0 h 1"/>
              <a:gd name="T2" fmla="*/ 0 w 10230"/>
              <a:gd name="T3" fmla="*/ 0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4" name="Shape 454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204045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5" name="Shape 455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849094" y="-342494"/>
            <a:ext cx="73937" cy="72121"/>
          </a:xfrm>
          <a:custGeom xmlns:a="http://schemas.openxmlformats.org/drawingml/2006/main">
            <a:avLst/>
            <a:gdLst>
              <a:gd name="T0" fmla="*/ 2147483647 w 3362"/>
              <a:gd name="T1" fmla="*/ 2147483647 h 3362"/>
              <a:gd name="T2" fmla="*/ 2147483647 w 3362"/>
              <a:gd name="T3" fmla="*/ 2147483647 h 3362"/>
              <a:gd name="T4" fmla="*/ 2147483647 w 3362"/>
              <a:gd name="T5" fmla="*/ 2147483647 h 3362"/>
              <a:gd name="T6" fmla="*/ 2147483647 w 3362"/>
              <a:gd name="T7" fmla="*/ 2147483647 h 3362"/>
              <a:gd name="T8" fmla="*/ 2147483647 w 3362"/>
              <a:gd name="T9" fmla="*/ 2147483647 h 3362"/>
              <a:gd name="T10" fmla="*/ 2147483647 w 3362"/>
              <a:gd name="T11" fmla="*/ 2147483647 h 3362"/>
              <a:gd name="T12" fmla="*/ 2147483647 w 3362"/>
              <a:gd name="T13" fmla="*/ 2147483647 h 3362"/>
              <a:gd name="T14" fmla="*/ 2147483647 w 3362"/>
              <a:gd name="T15" fmla="*/ 2147483647 h 3362"/>
              <a:gd name="T16" fmla="*/ 2147483647 w 3362"/>
              <a:gd name="T17" fmla="*/ 2147483647 h 3362"/>
              <a:gd name="T18" fmla="*/ 2147483647 w 3362"/>
              <a:gd name="T19" fmla="*/ 2147483647 h 3362"/>
              <a:gd name="T20" fmla="*/ 2147483647 w 3362"/>
              <a:gd name="T21" fmla="*/ 2147483647 h 3362"/>
              <a:gd name="T22" fmla="*/ 2147483647 w 3362"/>
              <a:gd name="T23" fmla="*/ 2147483647 h 3362"/>
              <a:gd name="T24" fmla="*/ 2147483647 w 3362"/>
              <a:gd name="T25" fmla="*/ 2147483647 h 3362"/>
              <a:gd name="T26" fmla="*/ 2147483647 w 3362"/>
              <a:gd name="T27" fmla="*/ 2147483647 h 33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362"/>
              <a:gd name="T43" fmla="*/ 0 h 3362"/>
              <a:gd name="T44" fmla="*/ 3362 w 3362"/>
              <a:gd name="T45" fmla="*/ 3362 h 33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362" h="3362" fill="none" extrusionOk="0">
                <a:moveTo>
                  <a:pt x="1" y="2582"/>
                </a:moveTo>
                <a:lnTo>
                  <a:pt x="1" y="1"/>
                </a:lnTo>
                <a:lnTo>
                  <a:pt x="3362" y="3362"/>
                </a:lnTo>
                <a:lnTo>
                  <a:pt x="780" y="3362"/>
                </a:lnTo>
                <a:lnTo>
                  <a:pt x="610" y="3337"/>
                </a:lnTo>
                <a:lnTo>
                  <a:pt x="464" y="3289"/>
                </a:lnTo>
                <a:lnTo>
                  <a:pt x="342" y="3216"/>
                </a:lnTo>
                <a:lnTo>
                  <a:pt x="220" y="3118"/>
                </a:lnTo>
                <a:lnTo>
                  <a:pt x="123" y="3021"/>
                </a:lnTo>
                <a:lnTo>
                  <a:pt x="50" y="2875"/>
                </a:lnTo>
                <a:lnTo>
                  <a:pt x="1" y="2729"/>
                </a:lnTo>
                <a:lnTo>
                  <a:pt x="1" y="2582"/>
                </a:lnTo>
                <a:close/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</cdr:grpSp>
  </cdr:relSizeAnchor>
  <cdr:relSizeAnchor xmlns:cdr="http://schemas.openxmlformats.org/drawingml/2006/chartDrawing">
    <cdr:from>
      <cdr:x>0.53125</cdr:x>
      <cdr:y>0.70833</cdr:y>
    </cdr:from>
    <cdr:to>
      <cdr:x>0.97656</cdr:x>
      <cdr:y>0.9375</cdr:y>
    </cdr:to>
    <cdr:sp macro="" textlink="">
      <cdr:nvSpPr>
        <cdr:cNvPr id="36" name="TextBox 1"/>
        <cdr:cNvSpPr txBox="1"/>
      </cdr:nvSpPr>
      <cdr:spPr>
        <a:xfrm xmlns:a="http://schemas.openxmlformats.org/drawingml/2006/main">
          <a:off x="4857752" y="4857760"/>
          <a:ext cx="4071934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коммунального хозяйства, транспортной системы и обеспечение безопасности дорожного движения – 0,7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Защита населения и территорий Курского района  от чрезвычайных ситуаций –  0,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олодежная политика – 0,2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Управление имуществом – 0,06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ежнациональные отношения и поддержка казачества – 0,0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Энергосбережение и повышение энергетической эффективности– 0,03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312</cdr:x>
      <cdr:y>0.90625</cdr:y>
    </cdr:from>
    <cdr:to>
      <cdr:x>0.46893</cdr:x>
      <cdr:y>0.92709</cdr:y>
    </cdr:to>
    <cdr:sp macro="" textlink="">
      <cdr:nvSpPr>
        <cdr:cNvPr id="37" name="Прямоугольник 36"/>
        <cdr:cNvSpPr/>
      </cdr:nvSpPr>
      <cdr:spPr>
        <a:xfrm xmlns:a="http://schemas.openxmlformats.org/drawingml/2006/main">
          <a:off x="4143372" y="6215082"/>
          <a:ext cx="144567" cy="142920"/>
        </a:xfrm>
        <a:prstGeom xmlns:a="http://schemas.openxmlformats.org/drawingml/2006/main" prst="rect">
          <a:avLst/>
        </a:prstGeom>
        <a:solidFill xmlns:a="http://schemas.openxmlformats.org/drawingml/2006/main">
          <a:srgbClr val="66FF66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49209</cdr:x>
      <cdr:y>0.92709</cdr:y>
    </cdr:from>
    <cdr:to>
      <cdr:x>0.5079</cdr:x>
      <cdr:y>0.94793</cdr:y>
    </cdr:to>
    <cdr:sp macro="" textlink="">
      <cdr:nvSpPr>
        <cdr:cNvPr id="38" name="Прямоугольник 37"/>
        <cdr:cNvSpPr/>
      </cdr:nvSpPr>
      <cdr:spPr>
        <a:xfrm xmlns:a="http://schemas.openxmlformats.org/drawingml/2006/main">
          <a:off x="4499716" y="6357958"/>
          <a:ext cx="144567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99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125</cdr:x>
      <cdr:y>0.79167</cdr:y>
    </cdr:from>
    <cdr:to>
      <cdr:x>0.79706</cdr:x>
      <cdr:y>0.8125</cdr:y>
    </cdr:to>
    <cdr:sp macro="" textlink="">
      <cdr:nvSpPr>
        <cdr:cNvPr id="39" name="Прямоугольник 38"/>
        <cdr:cNvSpPr/>
      </cdr:nvSpPr>
      <cdr:spPr>
        <a:xfrm xmlns:a="http://schemas.openxmlformats.org/drawingml/2006/main">
          <a:off x="7143768" y="542926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7344</cdr:x>
      <cdr:y>0.82292</cdr:y>
    </cdr:from>
    <cdr:to>
      <cdr:x>0.78925</cdr:x>
      <cdr:y>0.84375</cdr:y>
    </cdr:to>
    <cdr:sp macro="" textlink="">
      <cdr:nvSpPr>
        <cdr:cNvPr id="40" name="Прямоугольник 39"/>
        <cdr:cNvSpPr/>
      </cdr:nvSpPr>
      <cdr:spPr>
        <a:xfrm xmlns:a="http://schemas.openxmlformats.org/drawingml/2006/main">
          <a:off x="7072330" y="5643578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0066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906</cdr:x>
      <cdr:y>0.85417</cdr:y>
    </cdr:from>
    <cdr:to>
      <cdr:x>0.80487</cdr:x>
      <cdr:y>0.875</cdr:y>
    </cdr:to>
    <cdr:sp macro="" textlink="">
      <cdr:nvSpPr>
        <cdr:cNvPr id="41" name="Прямоугольник 40"/>
        <cdr:cNvSpPr/>
      </cdr:nvSpPr>
      <cdr:spPr>
        <a:xfrm xmlns:a="http://schemas.openxmlformats.org/drawingml/2006/main">
          <a:off x="7215206" y="585789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96094</cdr:x>
      <cdr:y>0.73959</cdr:y>
    </cdr:from>
    <cdr:to>
      <cdr:x>0.97675</cdr:x>
      <cdr:y>0.76042</cdr:y>
    </cdr:to>
    <cdr:sp macro="" textlink="">
      <cdr:nvSpPr>
        <cdr:cNvPr id="42" name="Прямоугольник 41"/>
        <cdr:cNvSpPr/>
      </cdr:nvSpPr>
      <cdr:spPr>
        <a:xfrm xmlns:a="http://schemas.openxmlformats.org/drawingml/2006/main">
          <a:off x="8786842" y="507207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66CC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59375</cdr:x>
      <cdr:y>0.90625</cdr:y>
    </cdr:from>
    <cdr:to>
      <cdr:x>0.60956</cdr:x>
      <cdr:y>0.92709</cdr:y>
    </cdr:to>
    <cdr:sp macro="" textlink="">
      <cdr:nvSpPr>
        <cdr:cNvPr id="43" name="Прямоугольник 42"/>
        <cdr:cNvSpPr/>
      </cdr:nvSpPr>
      <cdr:spPr>
        <a:xfrm xmlns:a="http://schemas.openxmlformats.org/drawingml/2006/main">
          <a:off x="5429256" y="621508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66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875</cdr:x>
      <cdr:y>0.95834</cdr:y>
    </cdr:from>
    <cdr:to>
      <cdr:x>0.73456</cdr:x>
      <cdr:y>0.97917</cdr:y>
    </cdr:to>
    <cdr:sp macro="" textlink="">
      <cdr:nvSpPr>
        <cdr:cNvPr id="44" name="Прямоугольник 43"/>
        <cdr:cNvSpPr/>
      </cdr:nvSpPr>
      <cdr:spPr>
        <a:xfrm xmlns:a="http://schemas.openxmlformats.org/drawingml/2006/main">
          <a:off x="6572264" y="657227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9999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3EA82B-F240-455B-BEC9-656477402841}" type="datetimeFigureOut">
              <a:rPr lang="ru-RU" smtClean="0"/>
              <a:pPr/>
              <a:t>03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3590D-A6C9-41EC-BDBB-02975A6C03C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6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8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6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5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06791-4EA7-4D71-AF90-7333275499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3C7CB-55AC-4A66-93F4-37BBC42CA7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BA8C2-D09E-4599-9CEF-CA2F4B5825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5E428-277E-49E0-BAD4-AD19463FC1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4CEF4-2602-46FD-91D3-B9CE975002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7307E5-495E-47A6-860E-A7DB08381D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14829B-82E0-41B7-9EC4-9C355F1ABE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85926-6C37-4EB2-BD4F-C305CD459C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980695-537C-4018-937E-12FB718C82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EA1C9-D1CA-4F85-AC2E-DC5EF3B191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0058B-A102-4261-A575-8D23C5CC3E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F85E8-6370-4F01-A738-2499D1846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1415D-E871-4216-B2D8-92EA540D48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CCFFFF"/>
            </a:gs>
            <a:gs pos="50000">
              <a:srgbClr val="FFFFFF"/>
            </a:gs>
            <a:gs pos="100000">
              <a:srgbClr val="FFCCFF"/>
            </a:gs>
          </a:gsLst>
          <a:lin ang="6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C8BE413B-C839-4043-889C-6605F20B0A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1" r:id="rId12"/>
    <p:sldLayoutId id="2147483662" r:id="rId13"/>
  </p:sldLayoutIdLst>
  <p:transition>
    <p:split orient="vert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gi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25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5" Type="http://schemas.openxmlformats.org/officeDocument/2006/relationships/chart" Target="../charts/chart31.xml"/><Relationship Id="rId4" Type="http://schemas.openxmlformats.org/officeDocument/2006/relationships/image" Target="../media/image26.png"/><Relationship Id="rId9" Type="http://schemas.openxmlformats.org/officeDocument/2006/relationships/diagramColors" Target="../diagrams/colors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33.png"/><Relationship Id="rId9" Type="http://schemas.microsoft.com/office/2007/relationships/hdphoto" Target="../media/hdphoto8.wdp"/><Relationship Id="rId14" Type="http://schemas.microsoft.com/office/2007/relationships/hdphoto" Target="../media/hdphoto4.wdp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Рисунок 7" descr="Герб Курского район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207168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0" y="3286124"/>
            <a:ext cx="9144000" cy="30162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ПРОЕКТ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решения о бюджете Курского муниципального района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Ставропольского края на 2019 год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и плановый период 2020 и 2021 годов</a:t>
            </a:r>
            <a:endParaRPr lang="ru-RU" sz="3800" b="1" dirty="0">
              <a:solidFill>
                <a:srgbClr val="000099"/>
              </a:solidFill>
              <a:effectLst>
                <a:outerShdw blurRad="38100" dist="38100" dir="2700000" algn="tl">
                  <a:srgbClr val="FFFFFF"/>
                </a:outerShdw>
                <a:reflection blurRad="6350" stA="55000" endA="300" endPos="45500" dir="5400000" sy="-100000" algn="bl" rotWithShape="0"/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14546" y="1071546"/>
            <a:ext cx="692945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ОТКРЫТЫЙ бюджет для граждан </a:t>
            </a:r>
            <a:endParaRPr lang="ru-RU" sz="6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 descr="http://itd0.mycdn.me/image?id=856306068765&amp;t=20&amp;plc=WEB&amp;tkn=*voSScq4LfN6WkR5HsMuhkanY0zw"/>
          <p:cNvPicPr>
            <a:picLocks noChangeAspect="1" noChangeArrowheads="1"/>
          </p:cNvPicPr>
          <p:nvPr/>
        </p:nvPicPr>
        <p:blipFill>
          <a:blip r:embed="rId2"/>
          <a:srcRect l="17969" t="38542" r="10156" b="4166"/>
          <a:stretch>
            <a:fillRect/>
          </a:stretch>
        </p:blipFill>
        <p:spPr bwMode="auto">
          <a:xfrm>
            <a:off x="142844" y="3857628"/>
            <a:ext cx="5715040" cy="2857520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71406" y="357166"/>
          <a:ext cx="6000791" cy="3416622"/>
        </p:xfrm>
        <a:graphic>
          <a:graphicData uri="http://schemas.openxmlformats.org/drawingml/2006/table">
            <a:tbl>
              <a:tblPr/>
              <a:tblGrid>
                <a:gridCol w="489987"/>
                <a:gridCol w="3251671"/>
                <a:gridCol w="2259133"/>
              </a:tblGrid>
              <a:tr h="6429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№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 муниципального образован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Численность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селения по состоянию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на 01.01.2018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Балтийский сельсовет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8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Галюгае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r>
                        <a:rPr lang="ru-RU" sz="14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67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52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Кур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3 122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Мирне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85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6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лтав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7 3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стов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4 97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щи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77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9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с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88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0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Серновод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  <a:endParaRPr lang="ru-RU" sz="10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3 79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ница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Стодеревска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63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ело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Эдисс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756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  <a:r>
                        <a:rPr lang="ru-RU" sz="14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4 261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1442" name="Picture 2" descr="https://im0-tub-ru.yandex.net/i?id=6d95777c974ad8f1465611df3b61ea3c-srl&amp;n=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15074" y="3000372"/>
            <a:ext cx="2839619" cy="3714720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6215074" y="642918"/>
            <a:ext cx="2786082" cy="2143140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урский муниципальный район входят 12 муниципальных образований </a:t>
            </a:r>
          </a:p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 статусом сельских поселений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285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ДМИНИСТРАТИВНО-ПРАВОВОЕ ДЕЛЕНИЕ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msk.deir.ru/wp-content/uploads/2017/03/strategia_rost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42844" y="142852"/>
            <a:ext cx="5929354" cy="2687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КАЗАТЕЛИ </a:t>
            </a:r>
          </a:p>
          <a:p>
            <a:pPr algn="ctr"/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ноза социально-экономического развития Курского муниципального района Ставропольского края на 2019 год и на период до 2021 года</a:t>
            </a:r>
            <a:endParaRPr lang="ru-RU" sz="2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50" name="AutoShape 2" descr="https://opt-1167640.ssl.1c-bitrix-cdn.ru/upload/iblock/af7/af7d4c29c1d91b39ca35aab10cb7c27d.jpg?15378697025402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107145"/>
          <a:ext cx="9144000" cy="6643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ЧИСЛЕННОСТЬ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642918"/>
            <a:ext cx="1508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человек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571480"/>
          <a:ext cx="9144000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ЖИДАЕМАЯ ПРОДОЛЖИТЕЛЬНОСТЬ ЖИЗНИ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ЕМОГРАФИЯ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ЕЛЬСКОЕ ХОЗЯЙСТВО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00958" y="357166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246063" y="571480"/>
          <a:ext cx="8897937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714356"/>
            <a:ext cx="1273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60288" y="500042"/>
            <a:ext cx="13837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/>
          </p:nvPr>
        </p:nvGraphicFramePr>
        <p:xfrm>
          <a:off x="0" y="714356"/>
          <a:ext cx="9144000" cy="6143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ОИТЕЛЬСТВО</a:t>
            </a:r>
            <a:endParaRPr lang="ru-RU" sz="2100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571480"/>
            <a:ext cx="7894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142852"/>
          <a:ext cx="4572000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72462" y="285728"/>
            <a:ext cx="907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кв. м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214282" y="3429000"/>
          <a:ext cx="8429684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14282" y="3429000"/>
            <a:ext cx="9144000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РАБАТЫВАЮЩИЕ   ПРОИЗВОДСТВА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2844" y="3286124"/>
          <a:ext cx="6143668" cy="3571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/>
        </p:nvGraphicFramePr>
        <p:xfrm>
          <a:off x="0" y="0"/>
          <a:ext cx="635795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429388" y="4214818"/>
            <a:ext cx="27146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доснабжение; водоотведение, </a:t>
            </a: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изация сбора и утилизация отходов, деятельности по ликвидации загрязнений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14348" y="3643314"/>
            <a:ext cx="1060828" cy="2885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857232"/>
            <a:ext cx="27860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еспечение электрической энергией, газом и  паром; кондиционирование воздуха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0" y="500042"/>
          <a:ext cx="9144000" cy="307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МАЛОЕ И СРЕДНЕЕ ПРЕДПРИНИМАТЕЛЬСТВО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Object 4"/>
          <p:cNvGraphicFramePr>
            <a:graphicFrameLocks noChangeAspect="1"/>
          </p:cNvGraphicFramePr>
          <p:nvPr/>
        </p:nvGraphicFramePr>
        <p:xfrm>
          <a:off x="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http://mahnevo.ru/media/cache/9f/ed/18/f1/5b/30/9fed18f15b30815b39e615911919ba0b.jpg"/>
          <p:cNvPicPr>
            <a:picLocks noChangeAspect="1" noChangeArrowheads="1"/>
          </p:cNvPicPr>
          <p:nvPr/>
        </p:nvPicPr>
        <p:blipFill>
          <a:blip r:embed="rId2">
            <a:lum bright="44000" contrast="-1000"/>
          </a:blip>
          <a:srcRect b="3614"/>
          <a:stretch>
            <a:fillRect/>
          </a:stretch>
        </p:blipFill>
        <p:spPr bwMode="auto">
          <a:xfrm>
            <a:off x="-19147" y="0"/>
            <a:ext cx="9163148" cy="6857999"/>
          </a:xfrm>
          <a:prstGeom prst="rect">
            <a:avLst/>
          </a:prstGeom>
          <a:blipFill>
            <a:blip r:embed="rId3">
              <a:lum bright="44000" contrast="-1000"/>
            </a:blip>
            <a:tile tx="0" ty="0" sx="100000" sy="100000" flip="none" algn="tl"/>
          </a:blipFill>
        </p:spPr>
      </p:pic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6170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важаемые жители Курского района!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Бюджет для граждан составлен на основании проекта решения совета Курского муниципального района Ставропольского края 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О бюджете Курского муниципального района Ставропольского края на 2019 год и плановый период 2020 и 2021 годов», носит ознакомительный и осведомительный характер и размещен с целью информирования населения в доступной форме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формация на интернет - ресурсе доходчиво раскрывает основные понятия законодательства о бюджетном процессе, содержит параметры доходной и расходной части бюджета Курского муниципального района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449263" algn="just" eaLnBrk="0" hangingPunct="0"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 позволит каждому жителю района подробно изучить основные направления расходования бюджета района по отраслям экономики и социальной сферы, источники доходов. </a:t>
            </a:r>
            <a:r>
              <a:rPr lang="ru-RU" sz="2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ши замечания и предложения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к проекту можете направлять по электронному адресу: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fukursk@mail.ru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kumimoji="0" lang="ru-RU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642918"/>
          <a:ext cx="4572000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РУД И ЗАНЯТОСТЬ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43900" y="57148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35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928662" y="785794"/>
            <a:ext cx="1183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 в месяц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286124"/>
          <a:ext cx="4572000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4"/>
          <p:cNvGraphicFramePr>
            <a:graphicFrameLocks noChangeAspect="1"/>
          </p:cNvGraphicFramePr>
          <p:nvPr/>
        </p:nvGraphicFramePr>
        <p:xfrm>
          <a:off x="4572000" y="571480"/>
          <a:ext cx="457200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28596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143504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одержимое 2"/>
          <p:cNvGraphicFramePr>
            <a:graphicFrameLocks noGrp="1"/>
          </p:cNvGraphicFramePr>
          <p:nvPr>
            <p:ph/>
          </p:nvPr>
        </p:nvGraphicFramePr>
        <p:xfrm>
          <a:off x="357158" y="642918"/>
          <a:ext cx="8229600" cy="521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ДЕНЕЖНЫЕ ДОХОДЫ НАСЕЛЕНИЯ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</a:t>
            </a:r>
            <a:r>
              <a:rPr kumimoji="0" lang="ru-RU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ожиточный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минимум в среднем на душу населения (в среднем за год) 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 социально-демографическим группам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86710" y="928670"/>
            <a:ext cx="10985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/месяц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7224" y="5857892"/>
            <a:ext cx="3714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  <a:cs typeface="Times New Roman" pitchFamily="18" charset="0"/>
              </a:rPr>
              <a:t>      Трудоспособного населения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Пенсионеров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Детей</a:t>
            </a:r>
            <a:endParaRPr lang="ru-RU" dirty="0">
              <a:latin typeface="+mn-lt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00100" y="5929330"/>
            <a:ext cx="214314" cy="21431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00100" y="6215082"/>
            <a:ext cx="214314" cy="2143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6500834"/>
            <a:ext cx="214314" cy="214314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500042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ЕСПЕЧЕННОСТЬ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единиц</a:t>
            </a:r>
            <a:endParaRPr lang="ru-RU" sz="14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714876" y="142852"/>
          <a:ext cx="442912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429000"/>
          <a:ext cx="9144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500958" y="3857628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44395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www.pozgalev.ru/storage/c/2015/11/12/1447342173_797387_1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71802" y="2000240"/>
            <a:ext cx="2857520" cy="351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Скругленный прямоугольник 14"/>
          <p:cNvSpPr/>
          <p:nvPr/>
        </p:nvSpPr>
        <p:spPr>
          <a:xfrm>
            <a:off x="5929322" y="2000240"/>
            <a:ext cx="3000396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4282" y="2000240"/>
            <a:ext cx="2857520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642918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Что такое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?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– это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план доходов и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расходов  на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определенный период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86446" y="1928802"/>
            <a:ext cx="3143240" cy="302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выплачиваемые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из бюджета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социальные выплаты населению,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одержание муниципальных учреждений (образование, ЖКХ, культура и др.) капитальное строительство и др.)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720" y="2000240"/>
            <a:ext cx="264318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До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поступающие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бюджет 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налоги юридических и физических лиц, административные платежи и сборы, безвозмездные поступления 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465" name="TextBox 9"/>
          <p:cNvSpPr txBox="1">
            <a:spLocks noChangeArrowheads="1"/>
          </p:cNvSpPr>
          <p:nvPr/>
        </p:nvSpPr>
        <p:spPr bwMode="auto">
          <a:xfrm>
            <a:off x="6000760" y="5143512"/>
            <a:ext cx="28575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Дефицит бюджета </a:t>
            </a:r>
            <a:r>
              <a:rPr lang="ru-RU" sz="1400" i="1" dirty="0"/>
              <a:t>– превышение расходов бюджета над его доходами</a:t>
            </a:r>
          </a:p>
        </p:txBody>
      </p:sp>
      <p:sp>
        <p:nvSpPr>
          <p:cNvPr id="19466" name="TextBox 10"/>
          <p:cNvSpPr txBox="1">
            <a:spLocks noChangeArrowheads="1"/>
          </p:cNvSpPr>
          <p:nvPr/>
        </p:nvSpPr>
        <p:spPr bwMode="auto">
          <a:xfrm>
            <a:off x="214282" y="5143512"/>
            <a:ext cx="278608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Профицит бюджета </a:t>
            </a:r>
            <a:r>
              <a:rPr lang="ru-RU" sz="1400" i="1" dirty="0"/>
              <a:t>– превышение доходов бюджета над его расходами</a:t>
            </a:r>
            <a:endParaRPr lang="ru-RU" sz="1400" dirty="0"/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0" y="1000108"/>
            <a:ext cx="9144000" cy="928670"/>
          </a:xfrm>
          <a:prstGeom prst="rect">
            <a:avLst/>
          </a:prstGeom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defRPr/>
            </a:pP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b="1" kern="0" dirty="0" smtClean="0">
                <a:latin typeface="Times New Roman" pitchFamily="18" charset="0"/>
                <a:cs typeface="Times New Roman" pitchFamily="18" charset="0"/>
              </a:rPr>
              <a:t>Бюджет 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(от </a:t>
            </a:r>
            <a:r>
              <a:rPr lang="ru-RU" i="1" kern="0" dirty="0" err="1" smtClean="0">
                <a:latin typeface="Times New Roman" pitchFamily="18" charset="0"/>
                <a:cs typeface="Times New Roman" pitchFamily="18" charset="0"/>
              </a:rPr>
              <a:t>старонормандского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u="sng" kern="0" dirty="0" err="1" smtClean="0">
                <a:latin typeface="Times New Roman" pitchFamily="18" charset="0"/>
                <a:cs typeface="Times New Roman" pitchFamily="18" charset="0"/>
              </a:rPr>
              <a:t>bougette</a:t>
            </a:r>
            <a:r>
              <a:rPr lang="en-US" i="1" u="sng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кошель, сумка, кожаный мешок) - 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.</a:t>
            </a:r>
          </a:p>
          <a:p>
            <a:pPr marL="342900" indent="-342900" eaLnBrk="0" hangingPunct="0">
              <a:spcBef>
                <a:spcPct val="20000"/>
              </a:spcBef>
              <a:defRPr/>
            </a:pPr>
            <a:endParaRPr lang="ru-RU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4282" y="6000768"/>
            <a:ext cx="8786813" cy="642942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алансированность бюджета по доходам и расходам – основополагающее требование предъявляемое к органам составляющим и утверждающим бюджет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428604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Какие бывают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ы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?</a:t>
            </a:r>
            <a:endParaRPr lang="ru-RU" sz="2400" kern="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30" name="Picture 6" descr="https://im2-tub-ru.yandex.net/i?id=0126215b62536e68d83d072d5015cd98&amp;n=33&amp;h=215&amp;w=36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824190"/>
            <a:ext cx="3071802" cy="1819388"/>
          </a:xfrm>
          <a:prstGeom prst="rect">
            <a:avLst/>
          </a:prstGeom>
          <a:noFill/>
        </p:spPr>
      </p:pic>
      <p:pic>
        <p:nvPicPr>
          <p:cNvPr id="1034" name="Picture 10" descr="http://narzur.ru/uploads/articles/2016/07/25/57965310f286a8.573331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4678" y="3929066"/>
            <a:ext cx="3000396" cy="1714512"/>
          </a:xfrm>
          <a:prstGeom prst="rect">
            <a:avLst/>
          </a:prstGeom>
          <a:noFill/>
        </p:spPr>
      </p:pic>
      <p:sp>
        <p:nvSpPr>
          <p:cNvPr id="1044" name="AutoShape 20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46" name="AutoShape 22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9" name="Picture 25" descr="C:\Documents and Settings\Home\Рабочий стол\Презентации\Презентации\580f7df50c8a2.jpg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36458" y="3643314"/>
            <a:ext cx="2907542" cy="2000264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286512" y="714356"/>
            <a:ext cx="264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бюджет организаций</a:t>
            </a:r>
            <a:endParaRPr lang="ru-RU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0" y="5643578"/>
            <a:ext cx="30718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Российской Федерации </a:t>
            </a:r>
            <a:r>
              <a:rPr lang="ru-RU" sz="1400" dirty="0" smtClean="0"/>
              <a:t>(федеральный бюджет, бюджеты государственных внебюджетных фондов РФ)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3286116" y="5643578"/>
            <a:ext cx="292895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убъектов Российской Федерации </a:t>
            </a:r>
          </a:p>
          <a:p>
            <a:pPr algn="ctr"/>
            <a:r>
              <a:rPr lang="ru-RU" sz="1400" dirty="0" smtClean="0"/>
              <a:t>(региональные  бюджеты, бюджеты территориальных фондов ОМС)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6429388" y="5643578"/>
            <a:ext cx="2714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муниципальных</a:t>
            </a:r>
          </a:p>
          <a:p>
            <a:pPr algn="ctr"/>
            <a:r>
              <a:rPr lang="ru-RU" sz="1400" b="1" dirty="0" smtClean="0"/>
              <a:t> образований</a:t>
            </a:r>
          </a:p>
          <a:p>
            <a:pPr algn="ctr"/>
            <a:r>
              <a:rPr lang="ru-RU" sz="1400" dirty="0" smtClean="0"/>
              <a:t>(местные бюджеты)</a:t>
            </a:r>
            <a:endParaRPr lang="ru-RU" sz="1400" dirty="0"/>
          </a:p>
        </p:txBody>
      </p:sp>
      <p:cxnSp>
        <p:nvCxnSpPr>
          <p:cNvPr id="25" name="Прямая со стрелкой 24"/>
          <p:cNvCxnSpPr/>
          <p:nvPr/>
        </p:nvCxnSpPr>
        <p:spPr>
          <a:xfrm>
            <a:off x="4714876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rot="10800000" flipV="1">
            <a:off x="2883372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rot="5400000">
            <a:off x="3501224" y="1785926"/>
            <a:ext cx="1856594" cy="794"/>
          </a:xfrm>
          <a:prstGeom prst="straightConnector1">
            <a:avLst/>
          </a:prstGeom>
          <a:ln w="3810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000364" y="2857496"/>
            <a:ext cx="3000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бюджеты публично-правовых организаций</a:t>
            </a:r>
            <a:endParaRPr lang="ru-RU" b="1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rot="10800000" flipV="1">
            <a:off x="2357422" y="3429000"/>
            <a:ext cx="785818" cy="357190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rot="5400000">
            <a:off x="4215603" y="3785397"/>
            <a:ext cx="428630" cy="1588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786446" y="3429000"/>
            <a:ext cx="1071570" cy="28575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0" name="Picture 2" descr="https://ds04.infourok.ru/uploads/ex/0df9/000da288-c50c6799/hello_html_m52501858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712768"/>
            <a:ext cx="2274901" cy="2716232"/>
          </a:xfrm>
          <a:prstGeom prst="rect">
            <a:avLst/>
          </a:prstGeom>
          <a:noFill/>
        </p:spPr>
      </p:pic>
      <p:pic>
        <p:nvPicPr>
          <p:cNvPr id="43012" name="Picture 4" descr="https://im0-tub-ru.yandex.net/i?id=0ccfeca603f9fa2f32b258bc49d58a59&amp;n=13&amp;exp=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4422"/>
            <a:ext cx="2871788" cy="1914526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Блок-схема: решение 3"/>
          <p:cNvSpPr/>
          <p:nvPr/>
        </p:nvSpPr>
        <p:spPr>
          <a:xfrm>
            <a:off x="142875" y="1714500"/>
            <a:ext cx="2879725" cy="755650"/>
          </a:xfrm>
          <a:prstGeom prst="flowChartDecision">
            <a:avLst/>
          </a:prstGeom>
          <a:solidFill>
            <a:srgbClr val="FF99FF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>
            <a:normAutofit fontScale="85000" lnSpcReduction="10000"/>
          </a:bodyPr>
          <a:lstStyle/>
          <a:p>
            <a:pPr algn="ctr">
              <a:defRPr/>
            </a:pPr>
            <a:r>
              <a:rPr lang="ru-RU" dirty="0"/>
              <a:t>НАЛОГОВЫ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2875" y="2571751"/>
            <a:ext cx="2928938" cy="2781137"/>
          </a:xfrm>
          <a:prstGeom prst="rect">
            <a:avLst/>
          </a:prstGeom>
          <a:solidFill>
            <a:srgbClr val="FF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>
            <a:sp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налог </a:t>
            </a:r>
            <a:r>
              <a:rPr lang="ru-RU" sz="1600" dirty="0"/>
              <a:t>на доход физических лиц (НДФЛ)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налог на вмененный доход (ЕНВД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сельскохозяйственный налог  (ЕСХН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акцизы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государственная пошлина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</p:txBody>
      </p:sp>
      <p:sp>
        <p:nvSpPr>
          <p:cNvPr id="6" name="Блок-схема: решение 5"/>
          <p:cNvSpPr/>
          <p:nvPr/>
        </p:nvSpPr>
        <p:spPr>
          <a:xfrm>
            <a:off x="3143250" y="1714500"/>
            <a:ext cx="2879725" cy="755650"/>
          </a:xfrm>
          <a:prstGeom prst="flowChartDecision">
            <a:avLst/>
          </a:prstGeom>
          <a:solidFill>
            <a:srgbClr val="6699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214688" y="2571750"/>
            <a:ext cx="2857500" cy="4043021"/>
          </a:xfrm>
          <a:prstGeom prst="rect">
            <a:avLst/>
          </a:prstGeom>
          <a:solidFill>
            <a:srgbClr val="66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spAutoFit/>
          </a:bodyPr>
          <a:lstStyle/>
          <a:p>
            <a:pPr marL="342900" indent="-342900">
              <a:defRPr/>
            </a:pPr>
            <a:r>
              <a:rPr lang="ru-RU" sz="1600" dirty="0" smtClean="0"/>
              <a:t>-     арендная плата </a:t>
            </a:r>
            <a:r>
              <a:rPr lang="ru-RU" sz="1600" dirty="0"/>
              <a:t>за земельные участки</a:t>
            </a:r>
          </a:p>
          <a:p>
            <a:pPr marL="342900" indent="-342900">
              <a:defRPr/>
            </a:pPr>
            <a:r>
              <a:rPr lang="ru-RU" sz="1600" dirty="0" smtClean="0"/>
              <a:t>-     продажа </a:t>
            </a:r>
            <a:r>
              <a:rPr lang="ru-RU" sz="1600" dirty="0"/>
              <a:t>земельных участков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ходы от сдачи </a:t>
            </a:r>
            <a:r>
              <a:rPr lang="ru-RU" sz="1600" dirty="0"/>
              <a:t>в аренду </a:t>
            </a:r>
            <a:r>
              <a:rPr lang="ru-RU" sz="1600" dirty="0" smtClean="0"/>
              <a:t>имущества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-     платежи от </a:t>
            </a:r>
            <a:r>
              <a:rPr lang="ru-RU" sz="1600" dirty="0" err="1"/>
              <a:t>муниципаль-ных</a:t>
            </a:r>
            <a:r>
              <a:rPr lang="ru-RU" sz="1600" dirty="0"/>
              <a:t> унитарных </a:t>
            </a:r>
            <a:r>
              <a:rPr lang="ru-RU" sz="1600" dirty="0" err="1"/>
              <a:t>пред-приятий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 -    плата за негативное </a:t>
            </a:r>
            <a:r>
              <a:rPr lang="ru-RU" sz="1600" dirty="0" err="1"/>
              <a:t>воз-действие</a:t>
            </a:r>
            <a:r>
              <a:rPr lang="ru-RU" sz="1600" dirty="0"/>
              <a:t> на </a:t>
            </a:r>
            <a:r>
              <a:rPr lang="ru-RU" sz="1600" dirty="0" err="1"/>
              <a:t>окружаю-щую</a:t>
            </a:r>
            <a:r>
              <a:rPr lang="ru-RU" sz="1600" dirty="0"/>
              <a:t> среду</a:t>
            </a:r>
          </a:p>
          <a:p>
            <a:pPr marL="342900" indent="-342900">
              <a:defRPr/>
            </a:pPr>
            <a:r>
              <a:rPr lang="ru-RU" sz="1600" dirty="0"/>
              <a:t>-   </a:t>
            </a:r>
            <a:r>
              <a:rPr lang="ru-RU" sz="1600" dirty="0" smtClean="0"/>
              <a:t>  </a:t>
            </a:r>
            <a:r>
              <a:rPr lang="ru-RU" sz="1600" dirty="0"/>
              <a:t>доходы от оказания </a:t>
            </a:r>
            <a:r>
              <a:rPr lang="ru-RU" sz="1600" dirty="0" smtClean="0"/>
              <a:t>платных </a:t>
            </a:r>
            <a:r>
              <a:rPr lang="ru-RU" sz="1600" dirty="0"/>
              <a:t>услуг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штрафы, санкции, </a:t>
            </a:r>
          </a:p>
          <a:p>
            <a:pPr marL="342900" indent="-342900">
              <a:defRPr/>
            </a:pPr>
            <a:r>
              <a:rPr lang="ru-RU" sz="1600" dirty="0"/>
              <a:t>      </a:t>
            </a:r>
            <a:r>
              <a:rPr lang="ru-RU" sz="1600" dirty="0" smtClean="0"/>
              <a:t>возмещение </a:t>
            </a:r>
            <a:r>
              <a:rPr lang="ru-RU" sz="1600" dirty="0"/>
              <a:t>ущерба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3" name="Блок-схема: решение 12"/>
          <p:cNvSpPr/>
          <p:nvPr/>
        </p:nvSpPr>
        <p:spPr>
          <a:xfrm>
            <a:off x="6143625" y="1714500"/>
            <a:ext cx="2857500" cy="755650"/>
          </a:xfrm>
          <a:prstGeom prst="flowChartDecision">
            <a:avLst/>
          </a:prstGeom>
          <a:solidFill>
            <a:srgbClr val="33CCCC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215063" y="2571750"/>
            <a:ext cx="2786062" cy="2786075"/>
          </a:xfrm>
          <a:prstGeom prst="rect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та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субвен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субсидии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иные межбюджетные трансферты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ТИПЫ ДОХОДОВ</a:t>
            </a:r>
          </a:p>
        </p:txBody>
      </p:sp>
      <p:sp>
        <p:nvSpPr>
          <p:cNvPr id="21514" name="TextBox 15"/>
          <p:cNvSpPr txBox="1">
            <a:spLocks noChangeArrowheads="1"/>
          </p:cNvSpPr>
          <p:nvPr/>
        </p:nvSpPr>
        <p:spPr bwMode="auto">
          <a:xfrm>
            <a:off x="3571875" y="1928813"/>
            <a:ext cx="20002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/>
              <a:t>НЕНАЛОГОВЫЕ</a:t>
            </a:r>
          </a:p>
        </p:txBody>
      </p:sp>
      <p:sp>
        <p:nvSpPr>
          <p:cNvPr id="21515" name="TextBox 16"/>
          <p:cNvSpPr txBox="1">
            <a:spLocks noChangeArrowheads="1"/>
          </p:cNvSpPr>
          <p:nvPr/>
        </p:nvSpPr>
        <p:spPr bwMode="auto">
          <a:xfrm>
            <a:off x="6572250" y="1857375"/>
            <a:ext cx="21431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/>
              <a:t>БЕЗВОЗМЕЗДНЫЕ ПОСТУПЛЕНИЯ </a:t>
            </a:r>
          </a:p>
        </p:txBody>
      </p:sp>
      <p:sp>
        <p:nvSpPr>
          <p:cNvPr id="20" name="Стрелка влево 19"/>
          <p:cNvSpPr/>
          <p:nvPr/>
        </p:nvSpPr>
        <p:spPr>
          <a:xfrm rot="19738322">
            <a:off x="2089150" y="1527175"/>
            <a:ext cx="539750" cy="215900"/>
          </a:xfrm>
          <a:prstGeom prst="leftArrow">
            <a:avLst/>
          </a:prstGeom>
          <a:solidFill>
            <a:srgbClr val="FF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Стрелка влево 21"/>
          <p:cNvSpPr/>
          <p:nvPr/>
        </p:nvSpPr>
        <p:spPr>
          <a:xfrm rot="13106523">
            <a:off x="6651625" y="1501775"/>
            <a:ext cx="541338" cy="215900"/>
          </a:xfrm>
          <a:prstGeom prst="leftArrow">
            <a:avLst/>
          </a:prstGeom>
          <a:solidFill>
            <a:srgbClr val="33CC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лево 22"/>
          <p:cNvSpPr/>
          <p:nvPr/>
        </p:nvSpPr>
        <p:spPr>
          <a:xfrm rot="16200000">
            <a:off x="4442620" y="1415256"/>
            <a:ext cx="303212" cy="187325"/>
          </a:xfrm>
          <a:prstGeom prst="leftArrow">
            <a:avLst/>
          </a:prstGeom>
          <a:solidFill>
            <a:srgbClr val="6699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cs typeface="Times New Roman" pitchFamily="18" charset="0"/>
              </a:rPr>
              <a:t>Безвозмездные поступления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152400" y="3429000"/>
            <a:ext cx="19812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Дота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Dotatio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дар, пожертвование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без определения конкретной цели использования средст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карманные деньги ребенка)</a:t>
            </a: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2362200" y="3429000"/>
            <a:ext cx="19050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вен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venire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риходить на помощь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финансирование переданных полномоч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еньги ребенку на покупки по спис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cs typeface="Times New Roman" pitchFamily="18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4572000" y="3429000"/>
            <a:ext cx="20574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сидии</a:t>
            </a:r>
            <a:r>
              <a:rPr lang="en-US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endParaRPr lang="ru-RU" sz="1600" b="1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sidium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оддержка) </a:t>
            </a: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условиях долевого софинансирования расх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обавить деньги ребенку на его покуп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428750" y="2643188"/>
            <a:ext cx="785813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786563" y="2643188"/>
            <a:ext cx="785812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88" y="1143000"/>
            <a:ext cx="6143625" cy="1785938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cs typeface="Times New Roman" pitchFamily="18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6934200" y="3429000"/>
            <a:ext cx="20161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Иные межбюджетные трансферты</a:t>
            </a:r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носят безвозвратный характе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16200000" flipH="1">
            <a:off x="5274468" y="3107532"/>
            <a:ext cx="423863" cy="1524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бюджета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–денежные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средства,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направляемые на финансовое обеспечение задач и функций государства и местного самоуправления.</a:t>
            </a:r>
            <a:endParaRPr lang="ru-RU" kern="0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43174" y="1000108"/>
            <a:ext cx="3786187" cy="571487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</a:rPr>
              <a:t>КЛАССИФИКАЦИЯ  РАСХОДОВ ПО ПРИЗНАКАМ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282" y="1928802"/>
            <a:ext cx="2700000" cy="4714314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ункциональ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от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выполнени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функци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сударств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муниципалитета) (раздел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раздел→ целевы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тьи→ виды расходов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02" y="1928802"/>
            <a:ext cx="2842876" cy="4714314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епосредственно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язана со структуро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я, отоб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ределение бюджетных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 по главным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дителям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(органы МСУ,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администрации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98" y="1928802"/>
            <a:ext cx="2842876" cy="4714314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номическа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азывает деление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текущие и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питальные, а также на выплату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работной пл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ые затр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бретение товаров и услуг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категория расходов→ группы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метные статьи→ подстатьи)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520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735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48" y="1643050"/>
            <a:ext cx="285752" cy="214314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57158" y="1071546"/>
            <a:ext cx="864399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ая Классификация Российской Федерации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является группировкой: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бюджетной системы Российской Федерации, используемой </a:t>
            </a:r>
          </a:p>
          <a:p>
            <a:pPr algn="just"/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для составления и исполнения бюджетов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и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(или) операций сектора государственного управления, используемой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ля ведения бюджетного (бухгалтерского) учета, составления 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   бюджетной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бухгалтерской) и иной финансовой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тчетност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обеспечивающей сопоставимость показателей бюджетов бюджетной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системы Российской Федерации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2844" y="285728"/>
            <a:ext cx="8858312" cy="492443"/>
          </a:xfrm>
          <a:prstGeom prst="rect">
            <a:avLst/>
          </a:prstGeom>
          <a:solidFill>
            <a:srgbClr val="CCCCFF"/>
          </a:solidFill>
        </p:spPr>
        <p:txBody>
          <a:bodyPr wrap="square">
            <a:spAutoFit/>
          </a:bodyPr>
          <a:lstStyle/>
          <a:p>
            <a:pPr algn="just"/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Статья 18. Бюджетная классификация Российской Федерации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4282" y="1500174"/>
            <a:ext cx="87154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гражд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– это упрощенная версия бюджетного документа, которая использует неформальный язык и доступные форматы, чтобы облегчить для граждан понимание бюджета. Он содержит информационно-аналитический материал, доступный для широкого круга неподготовленных пользователей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489" name="Rectangle 1"/>
          <p:cNvSpPr>
            <a:spLocks noChangeArrowheads="1"/>
          </p:cNvSpPr>
          <p:nvPr/>
        </p:nvSpPr>
        <p:spPr bwMode="auto">
          <a:xfrm>
            <a:off x="0" y="0"/>
            <a:ext cx="9144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ЧТО ТАКО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?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0418" name="Picture 2" descr="https://pimg.mycdn.me/getImage?url=http%3A%2F%2Fi.mycdn.me%2Fimage%3Fid%3D869921562962%26ts%3D0003000000000003200190%26plc%3DUNKNOWN%26tkn%3D*ynGyQ5hFGntg-tGjzbsiQ8lLd4s%26fn%3Dtopic_link_1080&amp;type=TOPIC_LINK_WIDE_548&amp;signatureToken=EylM5f1P9_IvHRxr6nWgO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1472" y="3000372"/>
            <a:ext cx="7786742" cy="3679058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/>
          <p:cNvCxnSpPr/>
          <p:nvPr/>
        </p:nvCxnSpPr>
        <p:spPr>
          <a:xfrm rot="5400000">
            <a:off x="789466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rot="5400000">
            <a:off x="610871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rot="5400000">
            <a:off x="425132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rot="5400000">
            <a:off x="246537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rot="5400000">
            <a:off x="1035819" y="2250273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4282" y="0"/>
            <a:ext cx="86439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– это деятельность по составлению проекта бюджета, его рассмотрению, утверждению, исполнению, составлению отчета об исполнении и его утверждению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14480" y="1285860"/>
            <a:ext cx="6072230" cy="500066"/>
          </a:xfrm>
          <a:prstGeom prst="roundRect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ТАДИИ  БЮДЖЕТНОГО  ПРОЦЕСС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2844" y="2428868"/>
            <a:ext cx="1571636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Разработка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85918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Рассмотрение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64330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верж-дение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2925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Исполнение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215206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ссмотрение и утверждение отчета об исполнении  бюджет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29256" y="4714884"/>
            <a:ext cx="1785950" cy="57150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год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14348" y="6215082"/>
            <a:ext cx="7715304" cy="4286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период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авая фигурная скобка 18"/>
          <p:cNvSpPr/>
          <p:nvPr/>
        </p:nvSpPr>
        <p:spPr>
          <a:xfrm rot="5400000">
            <a:off x="6161495" y="3554017"/>
            <a:ext cx="250034" cy="1714512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авая фигурная скобка 19"/>
          <p:cNvSpPr/>
          <p:nvPr/>
        </p:nvSpPr>
        <p:spPr>
          <a:xfrm rot="5400000">
            <a:off x="4429124" y="1500174"/>
            <a:ext cx="357190" cy="8786874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214414" y="2071678"/>
            <a:ext cx="6858048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rot="5400000">
            <a:off x="4251323" y="1963727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28596" y="214290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pic>
        <p:nvPicPr>
          <p:cNvPr id="39938" name="Picture 2" descr="C:\Documents and Settings\Home\Рабочий стол\Презентации\Презентации\cTXnKfYbvo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571612"/>
            <a:ext cx="3643306" cy="3786214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 rot="21342746">
            <a:off x="516851" y="2144171"/>
            <a:ext cx="1958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8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43438" y="5286388"/>
            <a:ext cx="43577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ые гарантии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разование, культура, ЖКХ, физическая культура и спорт, социальные льготы и др. направления социальных гарантий населению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5602" name="Picture 2" descr="http://stockfresh.com/files/c/cherezoff/m/85/3531922_stock-photo-3d-man-carries-a-gold-coin.jpg"/>
          <p:cNvPicPr>
            <a:picLocks noChangeAspect="1" noChangeArrowheads="1"/>
          </p:cNvPicPr>
          <p:nvPr/>
        </p:nvPicPr>
        <p:blipFill>
          <a:blip r:embed="rId3"/>
          <a:srcRect l="16295" r="15811"/>
          <a:stretch>
            <a:fillRect/>
          </a:stretch>
        </p:blipFill>
        <p:spPr bwMode="auto">
          <a:xfrm>
            <a:off x="3357554" y="2357430"/>
            <a:ext cx="1785950" cy="3000396"/>
          </a:xfrm>
          <a:prstGeom prst="rect">
            <a:avLst/>
          </a:prstGeom>
          <a:noFill/>
        </p:spPr>
      </p:pic>
      <p:sp>
        <p:nvSpPr>
          <p:cNvPr id="9" name="Стрелка вправо с вырезом 8"/>
          <p:cNvSpPr/>
          <p:nvPr/>
        </p:nvSpPr>
        <p:spPr>
          <a:xfrm flipH="1">
            <a:off x="4786314" y="1000108"/>
            <a:ext cx="3960000" cy="2160000"/>
          </a:xfrm>
          <a:prstGeom prst="notchedRightArrow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плательщик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помогает формировать доходную часть бюджет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трелка вправо с вырезом 10"/>
          <p:cNvSpPr/>
          <p:nvPr/>
        </p:nvSpPr>
        <p:spPr>
          <a:xfrm>
            <a:off x="5000628" y="3214686"/>
            <a:ext cx="3960000" cy="2160000"/>
          </a:xfrm>
          <a:prstGeom prst="notch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учатель социальных гарантий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 расходная часть бюджета 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4" name="Picture 4" descr="https://st.depositphotos.com/1006799/4031/i/950/depositphotos_40310337-stock-photo-falling-gold-coins.jpg"/>
          <p:cNvPicPr>
            <a:picLocks noChangeAspect="1" noChangeArrowheads="1"/>
          </p:cNvPicPr>
          <p:nvPr/>
        </p:nvPicPr>
        <p:blipFill>
          <a:blip r:embed="rId2"/>
          <a:srcRect l="25145" r="17003"/>
          <a:stretch>
            <a:fillRect/>
          </a:stretch>
        </p:blipFill>
        <p:spPr bwMode="auto">
          <a:xfrm>
            <a:off x="3214678" y="1214422"/>
            <a:ext cx="2714644" cy="3000396"/>
          </a:xfrm>
          <a:prstGeom prst="rect">
            <a:avLst/>
          </a:prstGeom>
          <a:noFill/>
        </p:spPr>
      </p:pic>
      <p:pic>
        <p:nvPicPr>
          <p:cNvPr id="2" name="Picture 2" descr="https://www.vsatke.ru/img/e98c8c80191bed0544c5090b2cab79a2.jpg"/>
          <p:cNvPicPr>
            <a:picLocks noChangeAspect="1" noChangeArrowheads="1"/>
          </p:cNvPicPr>
          <p:nvPr/>
        </p:nvPicPr>
        <p:blipFill>
          <a:blip r:embed="rId3"/>
          <a:srcRect l="26362" r="9514" b="12213"/>
          <a:stretch>
            <a:fillRect/>
          </a:stretch>
        </p:blipFill>
        <p:spPr bwMode="auto">
          <a:xfrm>
            <a:off x="2857488" y="3429000"/>
            <a:ext cx="3429024" cy="3429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КОНСОЛИДИРОВАННОГО БЮДЖЕТА </a:t>
            </a:r>
            <a:b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УРСКОГО МУНИЦИПАЛЬНОГО </a:t>
            </a:r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ЙОНА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Выноска со стрелкой вправо 10"/>
          <p:cNvSpPr/>
          <p:nvPr/>
        </p:nvSpPr>
        <p:spPr>
          <a:xfrm>
            <a:off x="214282" y="1357298"/>
            <a:ext cx="3143272" cy="5143536"/>
          </a:xfrm>
          <a:prstGeom prst="rightArrowCallout">
            <a:avLst>
              <a:gd name="adj1" fmla="val 7632"/>
              <a:gd name="adj2" fmla="val 19790"/>
              <a:gd name="adj3" fmla="val 9716"/>
              <a:gd name="adj4" fmla="val 84931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</a:rPr>
              <a:t>  </a:t>
            </a: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Совет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Администрация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Финансовое управление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образова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культуры «Управление культуры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Управление труда и социальной защиты населе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Комитет по физической культуре и спорту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Центр по работе с молодежью» КМР СК 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сельского хозяйства и охраны окружающей среды АКМР СК</a:t>
            </a:r>
          </a:p>
        </p:txBody>
      </p:sp>
      <p:sp>
        <p:nvSpPr>
          <p:cNvPr id="12" name="Выноска со стрелкой вправо 11"/>
          <p:cNvSpPr/>
          <p:nvPr/>
        </p:nvSpPr>
        <p:spPr>
          <a:xfrm flipH="1">
            <a:off x="5715008" y="1357298"/>
            <a:ext cx="3214678" cy="5143536"/>
          </a:xfrm>
          <a:prstGeom prst="rightArrowCallout">
            <a:avLst>
              <a:gd name="adj1" fmla="val 8867"/>
              <a:gd name="adj2" fmla="val 19481"/>
              <a:gd name="adj3" fmla="val 9716"/>
              <a:gd name="adj4" fmla="val 84931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Балтий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Галюгае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Канов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Кур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Мирнен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Полта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Ростовановский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ощин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ус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ерновод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т.Стодеревской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.Эдиссия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endParaRPr lang="ru-RU" dirty="0">
              <a:latin typeface="Times New Roman" pitchFamily="18" charset="0"/>
            </a:endParaRP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142844" y="928670"/>
            <a:ext cx="27146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 района</a:t>
            </a:r>
          </a:p>
        </p:txBody>
      </p: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6143636" y="928670"/>
            <a:ext cx="2797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ы посел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57488" y="4572008"/>
            <a:ext cx="33575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/>
              <a:t>КОНСОЛИДИРОВАННЫЙ БЮДЖЕТ КУРСКОГО МУНИЦИПАЛЬНОГО РАЙОНА</a:t>
            </a:r>
            <a:endParaRPr lang="ru-RU" sz="2000" b="1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14356"/>
          <a:ext cx="8858311" cy="5875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428628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(проект)*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(проект)*</a:t>
                      </a:r>
                    </a:p>
                  </a:txBody>
                  <a:tcPr/>
                </a:tc>
              </a:tr>
              <a:tr h="257180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онсолидированный 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89 329,2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19 374,8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бюджет Курского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 62 372,56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19 374,8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а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56226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 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ый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47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Балтий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118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2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676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530,31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Галюгае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769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00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 501,7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732,65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17,7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117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31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599,4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6 237,6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7 127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76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889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58140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рненский</a:t>
                      </a: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23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200052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97,2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70526">
                <a:tc>
                  <a:txBody>
                    <a:bodyPr/>
                    <a:lstStyle/>
                    <a:p>
                      <a:pPr algn="l"/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774,02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85794"/>
          <a:ext cx="8858311" cy="57959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500066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(проект)*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(проект)*</a:t>
                      </a:r>
                    </a:p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17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олтавский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337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65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42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295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2 504,8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стов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8 878,2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097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0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24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172,2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щин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125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726,7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601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усский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590,1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82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791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8 059,9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82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469,7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ерноводский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870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20,5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12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таница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14,0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тодеревска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951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737,4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о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790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Эдисси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544,6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 753,69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0034" y="6519446"/>
            <a:ext cx="7786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* бюджеты сельских поселений принимаются на один финансовый год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/>
          <p:cNvSpPr/>
          <p:nvPr/>
        </p:nvSpPr>
        <p:spPr>
          <a:xfrm>
            <a:off x="3786182" y="571480"/>
            <a:ext cx="5357818" cy="6143668"/>
          </a:xfrm>
          <a:prstGeom prst="triangle">
            <a:avLst>
              <a:gd name="adj" fmla="val 5051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" name="Стрелка вверх 2"/>
          <p:cNvSpPr/>
          <p:nvPr>
            <p:custDataLst>
              <p:tags r:id="rId1"/>
            </p:custDataLst>
          </p:nvPr>
        </p:nvSpPr>
        <p:spPr>
          <a:xfrm>
            <a:off x="7358082" y="5072074"/>
            <a:ext cx="917171" cy="1403820"/>
          </a:xfrm>
          <a:prstGeom prst="upArrow">
            <a:avLst>
              <a:gd name="adj1" fmla="val 50000"/>
              <a:gd name="adj2" fmla="val 92580"/>
            </a:avLst>
          </a:prstGeom>
          <a:solidFill>
            <a:srgbClr val="75B7B1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>
            <a:spLocks noChangeAspect="1"/>
          </p:cNvSpPr>
          <p:nvPr/>
        </p:nvSpPr>
        <p:spPr>
          <a:xfrm>
            <a:off x="1367644" y="3286124"/>
            <a:ext cx="6408712" cy="1000132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Курского муниципального района Ставропольского края на 2019 год и на период до 2021 года, утвержденным распоряжением администрации Курского муниципального района Ставропольского края от 14.10.2018 г. № 745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>
            <a:spLocks noChangeAspect="1"/>
          </p:cNvSpPr>
          <p:nvPr/>
        </p:nvSpPr>
        <p:spPr>
          <a:xfrm>
            <a:off x="1857356" y="2285992"/>
            <a:ext cx="6408712" cy="928694"/>
          </a:xfrm>
          <a:prstGeom prst="roundRect">
            <a:avLst>
              <a:gd name="adj" fmla="val 46369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5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каз Президента РФ от 07.05.2018 г. №204 «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7" name="Скругленный прямоугольник 6"/>
          <p:cNvSpPr>
            <a:spLocks noChangeAspect="1"/>
          </p:cNvSpPr>
          <p:nvPr/>
        </p:nvSpPr>
        <p:spPr>
          <a:xfrm>
            <a:off x="2071670" y="1428736"/>
            <a:ext cx="6715172" cy="799245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лание Президента РФ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ому Собранию РФ от 01.03.2018 г.</a:t>
            </a:r>
          </a:p>
        </p:txBody>
      </p:sp>
      <p:sp>
        <p:nvSpPr>
          <p:cNvPr id="10" name="Скругленный прямоугольник 9"/>
          <p:cNvSpPr>
            <a:spLocks noChangeAspect="1"/>
          </p:cNvSpPr>
          <p:nvPr/>
        </p:nvSpPr>
        <p:spPr>
          <a:xfrm>
            <a:off x="714348" y="4357694"/>
            <a:ext cx="6715172" cy="1143008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и налоговой политики Курского муниципального района Ставропольского края на 2019 год и плановый период 2020 и 2021 годов, утвержденные распоряжением администрации Курского муниципального района   от 11.10.2017 г. № 314-р</a:t>
            </a:r>
          </a:p>
          <a:p>
            <a:pPr>
              <a:lnSpc>
                <a:spcPts val="1700"/>
              </a:lnSpc>
            </a:pP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>
            <a:spLocks noChangeAspect="1"/>
          </p:cNvSpPr>
          <p:nvPr/>
        </p:nvSpPr>
        <p:spPr>
          <a:xfrm>
            <a:off x="357158" y="5572140"/>
            <a:ext cx="6786610" cy="928694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 Курского муниципального района Ставропольского края на 2019 год и плановый период 2020 и 2021 годов,  утвержденные распоряжением администрации Курского муниципального района  от 11.10.2018 г.  № 315-р</a:t>
            </a: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285728"/>
            <a:ext cx="55006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и формировании основных параметров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оекта решения были учтены: </a:t>
            </a:r>
            <a:endParaRPr lang="ru-RU" sz="2000" b="1" i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5" y="1059240"/>
          <a:ext cx="8858310" cy="5393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386"/>
                <a:gridCol w="1809761"/>
                <a:gridCol w="1350627"/>
                <a:gridCol w="1453326"/>
                <a:gridCol w="1384120"/>
                <a:gridCol w="1384090"/>
              </a:tblGrid>
              <a:tr h="792246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0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роект)</a:t>
                      </a:r>
                    </a:p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 </a:t>
                      </a:r>
                    </a:p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4 364,2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83 546,5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08 589,8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5 007,2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0 613,7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4140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20 9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9 3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1 48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44354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сид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4 28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56 211,9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7 882,1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4 045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1 70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882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вен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76 007,6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774,29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272,7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11 238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29 203,8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719214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ные межбюджетные трансферт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429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696,81</a:t>
                      </a:r>
                    </a:p>
                    <a:p>
                      <a:pPr algn="ctr"/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8558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 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«-»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рофицит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«+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3608" y="1"/>
            <a:ext cx="7056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БЮДЖЕТА КУРСКОГО МУНИЦИПАЛЬН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642918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1156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ОБЪЕМ ДОХОДОВ БЮДЖЕТА КУРСКОГО МУНИЦИПАЛЬНОГО РАЙОНА</a:t>
            </a:r>
            <a:endParaRPr lang="ru-RU" sz="2000" dirty="0"/>
          </a:p>
        </p:txBody>
      </p:sp>
      <p:graphicFrame>
        <p:nvGraphicFramePr>
          <p:cNvPr id="20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1142984"/>
          <a:ext cx="9007475" cy="5715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866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161 569,74</a:t>
            </a:r>
            <a:endParaRPr lang="ru-RU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7146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302 456,55</a:t>
            </a:r>
            <a:endParaRPr lang="ru-RU" b="1" i="1" dirty="0"/>
          </a:p>
        </p:txBody>
      </p:sp>
      <p:sp>
        <p:nvSpPr>
          <p:cNvPr id="8" name="TextBox 7"/>
          <p:cNvSpPr txBox="1"/>
          <p:nvPr/>
        </p:nvSpPr>
        <p:spPr>
          <a:xfrm>
            <a:off x="4429124" y="857233"/>
            <a:ext cx="1643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261 402,98</a:t>
            </a:r>
          </a:p>
          <a:p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2865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274 750,52</a:t>
            </a:r>
            <a:endParaRPr lang="ru-RU" b="1" i="1" dirty="0"/>
          </a:p>
        </p:txBody>
      </p:sp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1357298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122" y="4479110"/>
            <a:ext cx="1643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987 205,47</a:t>
            </a:r>
            <a:endParaRPr lang="ru-RU" sz="2000" dirty="0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2307444" y="4193358"/>
            <a:ext cx="1928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09 112,57</a:t>
            </a:r>
            <a:endParaRPr lang="ru-RU" sz="2000" dirty="0"/>
          </a:p>
        </p:txBody>
      </p:sp>
      <p:sp>
        <p:nvSpPr>
          <p:cNvPr id="14" name="TextBox 13"/>
          <p:cNvSpPr txBox="1"/>
          <p:nvPr/>
        </p:nvSpPr>
        <p:spPr>
          <a:xfrm rot="16200000">
            <a:off x="3700486" y="4086200"/>
            <a:ext cx="2143140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46 395,73</a:t>
            </a:r>
            <a:endParaRPr lang="ru-RU" sz="2000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5414997" y="4300515"/>
            <a:ext cx="1714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064 136,78</a:t>
            </a:r>
            <a:endParaRPr lang="ru-RU" sz="2000" dirty="0"/>
          </a:p>
        </p:txBody>
      </p:sp>
      <p:sp>
        <p:nvSpPr>
          <p:cNvPr id="16" name="TextBox 15"/>
          <p:cNvSpPr txBox="1"/>
          <p:nvPr/>
        </p:nvSpPr>
        <p:spPr>
          <a:xfrm rot="19037721">
            <a:off x="1101308" y="2970557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74 364,27 </a:t>
            </a:r>
            <a:r>
              <a:rPr lang="ru-RU" i="1" dirty="0" smtClean="0"/>
              <a:t>15,0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 rot="18754658">
            <a:off x="2619559" y="2323673"/>
            <a:ext cx="142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08 589,83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 rot="18635706">
            <a:off x="4139238" y="2572676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5 007,25 </a:t>
            </a:r>
            <a:r>
              <a:rPr lang="ru-RU" i="1" dirty="0" smtClean="0"/>
              <a:t>17,0%</a:t>
            </a:r>
            <a:endParaRPr lang="ru-RU" i="1" dirty="0"/>
          </a:p>
        </p:txBody>
      </p:sp>
      <p:sp>
        <p:nvSpPr>
          <p:cNvPr id="19" name="TextBox 18"/>
          <p:cNvSpPr txBox="1"/>
          <p:nvPr/>
        </p:nvSpPr>
        <p:spPr>
          <a:xfrm rot="18696259">
            <a:off x="5648001" y="2562408"/>
            <a:ext cx="1411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0 613,74  </a:t>
            </a:r>
            <a:r>
              <a:rPr lang="ru-RU" i="1" dirty="0" smtClean="0"/>
              <a:t>16,5%</a:t>
            </a:r>
            <a:endParaRPr lang="ru-RU" i="1" dirty="0"/>
          </a:p>
        </p:txBody>
      </p:sp>
      <p:sp>
        <p:nvSpPr>
          <p:cNvPr id="22" name="TextBox 21"/>
          <p:cNvSpPr txBox="1"/>
          <p:nvPr/>
        </p:nvSpPr>
        <p:spPr>
          <a:xfrm rot="18863367">
            <a:off x="2973999" y="2535618"/>
            <a:ext cx="1053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16,0%</a:t>
            </a:r>
            <a:endParaRPr lang="ru-RU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3929066"/>
            <a:ext cx="6192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гнозируемое увеличение поступлений налоговых и неналоговых доход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608" y="71414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БЪЕМ ДОХОДОВ МЕСТНОГО БЮДЖЕТА</a:t>
            </a:r>
          </a:p>
        </p:txBody>
      </p:sp>
      <p:sp>
        <p:nvSpPr>
          <p:cNvPr id="5" name="Левая фигурная скобка 4"/>
          <p:cNvSpPr/>
          <p:nvPr/>
        </p:nvSpPr>
        <p:spPr>
          <a:xfrm rot="16200000">
            <a:off x="3532729" y="-746703"/>
            <a:ext cx="292592" cy="6929486"/>
          </a:xfrm>
          <a:prstGeom prst="leftBrace">
            <a:avLst>
              <a:gd name="adj1" fmla="val 8333"/>
              <a:gd name="adj2" fmla="val 50225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928794" y="2782669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14480" y="1000108"/>
            <a:ext cx="2071702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019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4581128"/>
            <a:ext cx="174278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 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1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92D05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51520" y="5517232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174 364,2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210 613,74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5856" y="5301208"/>
            <a:ext cx="252825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36 249,47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214282" y="857232"/>
          <a:ext cx="8143932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7215206" y="2071678"/>
            <a:ext cx="214314" cy="214314"/>
          </a:xfrm>
          <a:prstGeom prst="rect">
            <a:avLst/>
          </a:prstGeom>
          <a:solidFill>
            <a:srgbClr val="99CCFF"/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7215206" y="2928934"/>
            <a:ext cx="214314" cy="2143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7143768" y="1928802"/>
            <a:ext cx="2000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логовые и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еналоговые доход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072330" y="2844225"/>
            <a:ext cx="2357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езвозмездные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упле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43108" y="1785926"/>
            <a:ext cx="2160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 093 866,72 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84,0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2844" y="1785926"/>
            <a:ext cx="12858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08 589,83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16,0%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1"/>
          <p:cNvGraphicFramePr>
            <a:graphicFrameLocks/>
          </p:cNvGraphicFramePr>
          <p:nvPr/>
        </p:nvGraphicFramePr>
        <p:xfrm>
          <a:off x="-50800" y="-50800"/>
          <a:ext cx="9245600" cy="695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282" y="425470"/>
            <a:ext cx="871540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дминистраторы доходов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ая систем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 система Российской Федерации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е ассигнова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оспись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</a:t>
            </a:r>
            <a:r>
              <a:rPr lang="ru-RU" sz="1400" dirty="0" smtClean="0"/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).</a:t>
            </a:r>
          </a:p>
          <a:p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suvorovski.ru/wp-content/uploads/2016/04/nalogovyy_vychet.jpg"/>
          <p:cNvPicPr>
            <a:picLocks noChangeAspect="1" noChangeArrowheads="1"/>
          </p:cNvPicPr>
          <p:nvPr/>
        </p:nvPicPr>
        <p:blipFill>
          <a:blip r:embed="rId2"/>
          <a:srcRect l="37302" r="4029"/>
          <a:stretch>
            <a:fillRect/>
          </a:stretch>
        </p:blipFill>
        <p:spPr bwMode="auto">
          <a:xfrm>
            <a:off x="7000892" y="5143512"/>
            <a:ext cx="2143108" cy="1714488"/>
          </a:xfrm>
          <a:prstGeom prst="rect">
            <a:avLst/>
          </a:prstGeom>
          <a:noFill/>
        </p:spPr>
      </p:pic>
      <p:graphicFrame>
        <p:nvGraphicFramePr>
          <p:cNvPr id="3" name="Диаграм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Скругленная прямоугольная выноска 3"/>
          <p:cNvSpPr/>
          <p:nvPr/>
        </p:nvSpPr>
        <p:spPr>
          <a:xfrm>
            <a:off x="3357554" y="928670"/>
            <a:ext cx="4286280" cy="357190"/>
          </a:xfrm>
          <a:prstGeom prst="wedgeRoundRectCallout">
            <a:avLst>
              <a:gd name="adj1" fmla="val -44024"/>
              <a:gd name="adj2" fmla="val 176472"/>
              <a:gd name="adj3" fmla="val 16667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единого норматива зачисления н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%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152400"/>
            <a:ext cx="91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гноз поступления налога на доходы физических лиц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03840" y="57148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99080" y="3708681"/>
            <a:ext cx="1785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09 398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06435" y="3280053"/>
            <a:ext cx="2500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39 05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863823" y="3280053"/>
            <a:ext cx="2357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2 159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685492" y="3315772"/>
            <a:ext cx="228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5  57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Круговая стрелка 10"/>
          <p:cNvSpPr/>
          <p:nvPr/>
        </p:nvSpPr>
        <p:spPr>
          <a:xfrm rot="20122895">
            <a:off x="2026950" y="1825686"/>
            <a:ext cx="2359535" cy="1184643"/>
          </a:xfrm>
          <a:prstGeom prst="circularArrow">
            <a:avLst>
              <a:gd name="adj1" fmla="val 5061"/>
              <a:gd name="adj2" fmla="val 1224772"/>
              <a:gd name="adj3" fmla="val 20650453"/>
              <a:gd name="adj4" fmla="val 10800000"/>
              <a:gd name="adj5" fmla="val 125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57422" y="2285992"/>
            <a:ext cx="1500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+ 29 654,00</a:t>
            </a:r>
          </a:p>
        </p:txBody>
      </p:sp>
      <p:sp>
        <p:nvSpPr>
          <p:cNvPr id="11266" name="AutoShape 2" descr="https://suvorovski.ru/wp-content/uploads/2016/04/nalogovyy_vychet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000892" y="5286388"/>
            <a:ext cx="71438" cy="571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-99289" y="214290"/>
            <a:ext cx="9243289" cy="71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600" kern="0" dirty="0">
                <a:solidFill>
                  <a:srgbClr val="000000"/>
                </a:solidFill>
                <a:cs typeface="Arial"/>
              </a:rPr>
              <a:t/>
            </a:r>
            <a:br>
              <a:rPr lang="ru-RU" sz="2600" kern="0" dirty="0">
                <a:solidFill>
                  <a:srgbClr val="000000"/>
                </a:solidFill>
                <a:cs typeface="Arial"/>
              </a:rPr>
            </a:b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ЫЕ МЕРОПРИЯТИЯ </a:t>
            </a:r>
          </a:p>
          <a:p>
            <a:pPr algn="ctr">
              <a:defRPr/>
            </a:pP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МОБИЛИЗАЦИИ ДОХОДОВ БЮДЖЕТА</a:t>
            </a:r>
            <a:endParaRPr lang="en-US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22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ru-RU" sz="2200" b="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9874" name="AutoShape 2" descr="https://banner2.kisspng.com/20180404/kgw/kisspng-coin-purse-money-bag-clip-art-purse-5ac5808d20b224.2064749415228929411339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9876" name="Picture 4" descr="https://banner2.kisspng.com/20180404/kgw/kisspng-coin-purse-money-bag-clip-art-purse-5ac5808d20b224.206474941522892941133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14612" y="1214422"/>
            <a:ext cx="3714776" cy="5143536"/>
          </a:xfrm>
          <a:prstGeom prst="rect">
            <a:avLst/>
          </a:prstGeom>
          <a:noFill/>
        </p:spPr>
      </p:pic>
      <p:sp>
        <p:nvSpPr>
          <p:cNvPr id="9" name="Выноска со стрелкой влево 8"/>
          <p:cNvSpPr/>
          <p:nvPr/>
        </p:nvSpPr>
        <p:spPr>
          <a:xfrm>
            <a:off x="5572132" y="1857364"/>
            <a:ext cx="3357586" cy="1928826"/>
          </a:xfrm>
          <a:prstGeom prst="leftArrowCallout">
            <a:avLst>
              <a:gd name="adj1" fmla="val 15007"/>
              <a:gd name="adj2" fmla="val 25000"/>
              <a:gd name="adj3" fmla="val 3457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79" name="Rectangle 7"/>
          <p:cNvSpPr>
            <a:spLocks noChangeArrowheads="1"/>
          </p:cNvSpPr>
          <p:nvPr/>
        </p:nvSpPr>
        <p:spPr bwMode="auto">
          <a:xfrm>
            <a:off x="6715140" y="1857364"/>
            <a:ext cx="2214578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с администраторами доходов районного бюджета, направленная на повышение качества администрирования доходных источников, повышение уровня ответственности за выполнение прогнозных показателей, снижение недоимки по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Выноска со стрелкой влево 12"/>
          <p:cNvSpPr/>
          <p:nvPr/>
        </p:nvSpPr>
        <p:spPr>
          <a:xfrm>
            <a:off x="5572132" y="5072074"/>
            <a:ext cx="3357586" cy="714380"/>
          </a:xfrm>
          <a:prstGeom prst="leftArrowCallout">
            <a:avLst>
              <a:gd name="adj1" fmla="val 15007"/>
              <a:gd name="adj2" fmla="val 25000"/>
              <a:gd name="adj3" fmla="val 117434"/>
              <a:gd name="adj4" fmla="val 65098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0" name="Rectangle 8"/>
          <p:cNvSpPr>
            <a:spLocks noChangeArrowheads="1"/>
          </p:cNvSpPr>
          <p:nvPr/>
        </p:nvSpPr>
        <p:spPr bwMode="auto">
          <a:xfrm>
            <a:off x="6643702" y="5072074"/>
            <a:ext cx="235742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Организация работы по информированию граждан о сроках уплаты налогов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Выноска со стрелкой влево 15"/>
          <p:cNvSpPr/>
          <p:nvPr/>
        </p:nvSpPr>
        <p:spPr>
          <a:xfrm rot="10800000">
            <a:off x="214282" y="1857364"/>
            <a:ext cx="3429024" cy="1571636"/>
          </a:xfrm>
          <a:prstGeom prst="leftArrowCallout">
            <a:avLst>
              <a:gd name="adj1" fmla="val 21594"/>
              <a:gd name="adj2" fmla="val 25000"/>
              <a:gd name="adj3" fmla="val 46104"/>
              <a:gd name="adj4" fmla="val 6975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214282" y="1857364"/>
            <a:ext cx="221457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b="1" dirty="0" smtClean="0"/>
              <a:t>Работа с организациями, выплачивающими заработную плату работникам ниже прожиточного минимума и использующими «конвертные» </a:t>
            </a:r>
            <a:r>
              <a:rPr lang="ru-RU" sz="1100" b="1" dirty="0" err="1" smtClean="0"/>
              <a:t>зарплатные</a:t>
            </a:r>
            <a:r>
              <a:rPr lang="ru-RU" sz="1100" b="1" dirty="0" smtClean="0"/>
              <a:t> схемы </a:t>
            </a:r>
            <a:endParaRPr lang="ru-RU" sz="1100" dirty="0"/>
          </a:p>
        </p:txBody>
      </p:sp>
      <p:sp>
        <p:nvSpPr>
          <p:cNvPr id="18" name="Выноска со стрелкой влево 17"/>
          <p:cNvSpPr/>
          <p:nvPr/>
        </p:nvSpPr>
        <p:spPr>
          <a:xfrm rot="10800000">
            <a:off x="214282" y="3571876"/>
            <a:ext cx="3357586" cy="1143008"/>
          </a:xfrm>
          <a:prstGeom prst="leftArrowCallout">
            <a:avLst>
              <a:gd name="adj1" fmla="val 18026"/>
              <a:gd name="adj2" fmla="val 25000"/>
              <a:gd name="adj3" fmla="val 64011"/>
              <a:gd name="adj4" fmla="val 71143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2" name="Rectangle 10"/>
          <p:cNvSpPr>
            <a:spLocks noChangeArrowheads="1"/>
          </p:cNvSpPr>
          <p:nvPr/>
        </p:nvSpPr>
        <p:spPr bwMode="auto">
          <a:xfrm>
            <a:off x="214282" y="3643314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Проведение мероприятий, направленных на снижение недоимки по налоговым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Выноска со стрелкой влево 19"/>
          <p:cNvSpPr/>
          <p:nvPr/>
        </p:nvSpPr>
        <p:spPr>
          <a:xfrm>
            <a:off x="5572132" y="3929066"/>
            <a:ext cx="3357586" cy="1000132"/>
          </a:xfrm>
          <a:prstGeom prst="leftArrowCallout">
            <a:avLst>
              <a:gd name="adj1" fmla="val 23948"/>
              <a:gd name="adj2" fmla="val 34057"/>
              <a:gd name="adj3" fmla="val 6888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3" name="Rectangle 11"/>
          <p:cNvSpPr>
            <a:spLocks noChangeArrowheads="1"/>
          </p:cNvSpPr>
          <p:nvPr/>
        </p:nvSpPr>
        <p:spPr bwMode="auto">
          <a:xfrm>
            <a:off x="6715140" y="3929066"/>
            <a:ext cx="2143140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 комиссии </a:t>
            </a:r>
            <a:r>
              <a:rPr lang="ru-RU" sz="1100" b="1" dirty="0" smtClean="0"/>
              <a:t>по мобилизации налоговых и неналоговых доходов, зачисляемых в бюджет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Выноска со стрелкой влево 14"/>
          <p:cNvSpPr/>
          <p:nvPr/>
        </p:nvSpPr>
        <p:spPr>
          <a:xfrm rot="10800000">
            <a:off x="214282" y="4857760"/>
            <a:ext cx="3357586" cy="1000132"/>
          </a:xfrm>
          <a:prstGeom prst="leftArrowCallout">
            <a:avLst>
              <a:gd name="adj1" fmla="val 25673"/>
              <a:gd name="adj2" fmla="val 34057"/>
              <a:gd name="adj3" fmla="val 70289"/>
              <a:gd name="adj4" fmla="val 71424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214282" y="4929198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</a:t>
            </a:r>
            <a:r>
              <a:rPr lang="ru-RU" sz="1100" b="1" dirty="0" smtClean="0"/>
              <a:t>районной комиссии по вопросам социально-экономического развития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42918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БЕЗВОЗМЕЗДНЫЕ   ПОСТУПЛЕНИЯ  В  БЮДЖЕТ  КУРСКОГО МУНИЦИПАЛЬНОГО  РАЙОНА </a:t>
            </a:r>
            <a:endParaRPr lang="ru-RU" sz="2000" dirty="0"/>
          </a:p>
        </p:txBody>
      </p:sp>
      <p:graphicFrame>
        <p:nvGraphicFramePr>
          <p:cNvPr id="16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644525"/>
          <a:ext cx="9007475" cy="621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500042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1154553" y="3917490"/>
            <a:ext cx="20717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2761909" y="3524580"/>
            <a:ext cx="22860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093 866,72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4404981" y="3453143"/>
            <a:ext cx="24288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046 395,73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6048056" y="3310265"/>
            <a:ext cx="2571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064 136,78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Стрелка вправо с вырезом 23"/>
          <p:cNvSpPr/>
          <p:nvPr/>
        </p:nvSpPr>
        <p:spPr>
          <a:xfrm rot="19303872">
            <a:off x="1672831" y="1546390"/>
            <a:ext cx="1781142" cy="714167"/>
          </a:xfrm>
          <a:prstGeom prst="notched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 Box 54"/>
          <p:cNvSpPr txBox="1">
            <a:spLocks noChangeArrowheads="1"/>
          </p:cNvSpPr>
          <p:nvPr/>
        </p:nvSpPr>
        <p:spPr bwMode="auto">
          <a:xfrm rot="19351011">
            <a:off x="1802557" y="1669010"/>
            <a:ext cx="16193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+ 106 661,25 </a:t>
            </a:r>
            <a:endParaRPr lang="ru-RU" b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6357950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85720" y="0"/>
            <a:ext cx="857256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 </a:t>
            </a: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благоустройство территорий муниципальных общеобразовательных организаций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/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создание в общеобразовательных организациях, расположенных в сельской местности, условий для занятий физической культурой и 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снащение музыкальными инструментами муниципальных образовательных организаций дополнительного образования (детских школ искусств)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замене оконных блоков в муниципальных 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капитальному ремонту кровель в муниципальных обще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беспечение муниципальных учреждений культуры в сельской местности специализированным автотран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создание условий для обеспечения безопасности граждан в местах массового пребывания людей на территории муниципального образования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выплату денежной компенсации семьям, в которых в период с 01 января 2011 года по 31 декабря 2015 года родился третий или последующий ребенок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оказание несвязанной поддержки сельскохозяйственным товаропроизводителям в области растениеводства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00100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86578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1472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 093 866,72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57554" y="2428868"/>
            <a:ext cx="2071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+ 106 661,25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или 10,8%</a:t>
            </a:r>
            <a:endParaRPr lang="ru-RU" sz="2400" dirty="0"/>
          </a:p>
        </p:txBody>
      </p:sp>
      <p:sp>
        <p:nvSpPr>
          <p:cNvPr id="12" name="Стрелка вниз 11"/>
          <p:cNvSpPr/>
          <p:nvPr/>
        </p:nvSpPr>
        <p:spPr>
          <a:xfrm rot="10800000">
            <a:off x="5643570" y="1714488"/>
            <a:ext cx="571504" cy="1714512"/>
          </a:xfrm>
          <a:prstGeom prst="downArrow">
            <a:avLst>
              <a:gd name="adj1" fmla="val 47316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072330" y="928670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/>
        </p:nvGraphicFramePr>
        <p:xfrm>
          <a:off x="0" y="428604"/>
          <a:ext cx="8858280" cy="4071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71472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ТРУКТУРА БЕЗВОЗМЕЗДНЫХ   ПОСТУПЛЕНИЙ НА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год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1406" y="4643446"/>
            <a:ext cx="90725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оставе иных межбюджетных трансфертов учтены следующие средства на: 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содержание депутатов Государственной Думы и членов Совета Федерации и их помощников  - 930,00 тыс. рублей;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содержание контрольно счетного органа  - 499,82 тыс. рублей.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оказание услуг по ведению бюджетного учета - 307,01 тыс. рубле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85720" y="3643314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венц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4929190" y="1214422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4714876" y="357166"/>
            <a:ext cx="2071702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ФПП 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на решение вопросов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естного значен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214942" y="4143380"/>
            <a:ext cx="1071570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ые МБТ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Соединительная линия уступом 14"/>
          <p:cNvCxnSpPr/>
          <p:nvPr/>
        </p:nvCxnSpPr>
        <p:spPr>
          <a:xfrm flipV="1">
            <a:off x="500034" y="857232"/>
            <a:ext cx="1857388" cy="142876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/>
          <p:nvPr/>
        </p:nvCxnSpPr>
        <p:spPr>
          <a:xfrm flipV="1">
            <a:off x="4572000" y="1073134"/>
            <a:ext cx="1643074" cy="141288"/>
          </a:xfrm>
          <a:prstGeom prst="bentConnector3">
            <a:avLst>
              <a:gd name="adj1" fmla="val 1219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6200000" flipH="1">
            <a:off x="4643438" y="3071810"/>
            <a:ext cx="1785950" cy="928694"/>
          </a:xfrm>
          <a:prstGeom prst="bentConnector3">
            <a:avLst>
              <a:gd name="adj1" fmla="val 100717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157162"/>
          <a:ext cx="9144000" cy="670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357188" y="0"/>
            <a:ext cx="8786812" cy="857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ТРУКТУРА БЕЗВОЗМЕЗДНЫХ </a:t>
            </a: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ОСТУПЛЕНИЙ             (в процентах)</a:t>
            </a:r>
            <a:endParaRPr lang="ru-RU" sz="2600" kern="0" dirty="0">
              <a:solidFill>
                <a:schemeClr val="tx2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142984"/>
          <a:ext cx="9144000" cy="2145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72198"/>
                <a:gridCol w="1571636"/>
                <a:gridCol w="1500166"/>
              </a:tblGrid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убсидия на формирование районных фондов финансовой поддержки сельских поселений</a:t>
                      </a: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5 101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1 192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06398">
                <a:tc>
                  <a:txBody>
                    <a:bodyPr/>
                    <a:lstStyle/>
                    <a:p>
                      <a:pPr algn="l"/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: 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 сельских поселений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75,2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 298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ные </a:t>
                      </a: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межбюджетные трансферты на обеспечение сбалансированности 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бюджетов  сельских поселений 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48 825,7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60 894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0"/>
            <a:ext cx="91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пределение районного фонда финансовой поддержки </a:t>
            </a:r>
          </a:p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сельских поселений Курского района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pic>
        <p:nvPicPr>
          <p:cNvPr id="1028" name="Picture 4" descr="https://xn--80ajgpcpbhkds4a4g.xn--p1ai/wp-content/uploads/2015/11/132323-1000x48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1604" y="3643314"/>
            <a:ext cx="6356577" cy="3051157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2143116"/>
            <a:ext cx="9144000" cy="3643338"/>
          </a:xfrm>
        </p:spPr>
        <p:txBody>
          <a:bodyPr/>
          <a:lstStyle/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шение совет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урского муниципального район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07 декабря 2017 № 16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 бюджете Курского муниципального района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на 2019 год и плановый период 2020 и 2021 годов»</a:t>
            </a:r>
          </a:p>
          <a:p>
            <a:pPr marL="609600" indent="-609600" eaLnBrk="1" hangingPunct="1">
              <a:buFontTx/>
              <a:buNone/>
            </a:pPr>
            <a:endParaRPr lang="ru-RU" i="1" dirty="0" smtClean="0"/>
          </a:p>
          <a:p>
            <a:pPr marL="609600" indent="-609600" eaLnBrk="1" hangingPunct="1">
              <a:buFontTx/>
              <a:buNone/>
            </a:pPr>
            <a:endParaRPr lang="ru-RU" sz="3100" i="1" dirty="0" smtClean="0"/>
          </a:p>
        </p:txBody>
      </p:sp>
      <p:sp>
        <p:nvSpPr>
          <p:cNvPr id="52226" name="AutoShape 8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785926"/>
          </a:xfrm>
          <a:prstGeom prst="roundRect">
            <a:avLst>
              <a:gd name="adj" fmla="val 16667"/>
            </a:avLst>
          </a:prstGeom>
          <a:solidFill>
            <a:schemeClr val="bg1">
              <a:alpha val="0"/>
            </a:schemeClr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altLang="ja-JP" sz="3600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сновные подходы при формировании бюджетных ассигнований на 2019 год и плановый период 2020 и 2021 годов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0" y="571480"/>
            <a:ext cx="8715404" cy="5665807"/>
          </a:xfrm>
        </p:spPr>
        <p:txBody>
          <a:bodyPr/>
          <a:lstStyle/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ование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ассигнова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ч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сид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венц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целев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о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существляетс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дельн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каждом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источник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направлению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бъем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уем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оответству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рогноз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</a:t>
            </a: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в.</a:t>
            </a:r>
          </a:p>
          <a:p>
            <a:pPr marL="609600" indent="-609600" algn="ctr" eaLnBrk="1" hangingPunct="1">
              <a:lnSpc>
                <a:spcPct val="80000"/>
              </a:lnSpc>
              <a:buFontTx/>
              <a:buNone/>
            </a:pPr>
            <a:endParaRPr lang="ru-RU" sz="28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             Структура бюджета остается социально ориентированной: расходы социальных отраслей составляют 83,8% в общих расходах, целый ряд направлений планируется с ростом.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2400" dirty="0" smtClean="0"/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3000" dirty="0" smtClean="0"/>
          </a:p>
        </p:txBody>
      </p:sp>
      <p:sp>
        <p:nvSpPr>
          <p:cNvPr id="89091" name="Rectangle 3"/>
          <p:cNvSpPr>
            <a:spLocks noChangeArrowheads="1"/>
          </p:cNvSpPr>
          <p:nvPr/>
        </p:nvSpPr>
        <p:spPr bwMode="auto">
          <a:xfrm>
            <a:off x="0" y="2997200"/>
            <a:ext cx="9144000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09600" indent="-609600" algn="ctr">
              <a:lnSpc>
                <a:spcPct val="90000"/>
              </a:lnSpc>
              <a:spcBef>
                <a:spcPct val="20000"/>
              </a:spcBef>
            </a:pPr>
            <a:endParaRPr lang="ru-RU" sz="3000" b="1" i="1" dirty="0"/>
          </a:p>
          <a:p>
            <a:pPr marL="609600" indent="-609600" algn="just">
              <a:lnSpc>
                <a:spcPct val="90000"/>
              </a:lnSpc>
              <a:spcBef>
                <a:spcPct val="20000"/>
              </a:spcBef>
            </a:pPr>
            <a:endParaRPr lang="ru-RU" sz="2400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345035" y="4357694"/>
            <a:ext cx="645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Увеличение планового объема расход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00034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72330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267744" y="5072074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357158" y="5715016"/>
            <a:ext cx="21602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43702" y="5715016"/>
            <a:ext cx="23042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79631" y="5534561"/>
            <a:ext cx="2784737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140 886,81</a:t>
            </a:r>
            <a:endParaRPr lang="ru-RU" sz="4000" b="1" cap="none" spc="0" dirty="0" smtClean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40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 МЕСТНОГО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БЮДЖЕТА  НА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 год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0" y="500042"/>
          <a:ext cx="9144000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642918"/>
            <a:ext cx="8715436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ламентируемая нормами права деятельность органов государст­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особый товар, стихийно выделившийся из товарного мира и выполняющий роль всеобщего эквивалента. Их сущность выражается в функциях меры стоимости, средства обращения, средства накопления и сбережения, средства платежа, мировых денег. </a:t>
            </a:r>
            <a:b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превышение расходов бюджета над его доходами. 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денежные средства, поступающие в безвозмездном и безвозвратном порядке в соответствии с законодательством РФ в распоряжение органов государственной власти РФ, органов государственной власти субъектов РФ и органов местного самоуправления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стный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 —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ог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  <a:endParaRPr lang="ru-RU" sz="14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712968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величение расходов на:</a:t>
            </a: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/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уществление полномочий по решению отдельных вопросов местного значения в области градостроительной деятельности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21,87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работникам культуры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 861,97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-но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3 434,9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педагогическим работникам муниципальных организаций дополнительного образования детей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 597,91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но-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4 732,5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беспечение выплаты минимального размера оплаты труда с 01.01.2018 года в размере 11 280 рублей в месяц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0 001,84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расчетные показатели в части оплаты труда педагогических работников муниципальных общеобразовательных организаций при осуществлении ими деятельности начальника или воспитателя пришкольного лагеря при муниципальных общеобразовательных организациях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53,25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редоставление мер социальной поддержке по оплате жилья, коммунальных услуг или отдельных их видов работникам муниципальных учреждений культуры, работающим и проживающим в сельской местности до расчетного размера ежемесячной денежной выплаты 771,20 рублей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КострицкаяЕВ\Desktop\2322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42852"/>
            <a:ext cx="2357454" cy="1536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75" y="1928802"/>
          <a:ext cx="4429125" cy="477320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216900"/>
                <a:gridCol w="642445"/>
                <a:gridCol w="642445"/>
                <a:gridCol w="642445"/>
                <a:gridCol w="642445"/>
                <a:gridCol w="642445"/>
              </a:tblGrid>
              <a:tr h="137420">
                <a:tc rowSpan="2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атегори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ов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 gridSpan="5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едня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аработная плата, руб.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447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ер-вонач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уточн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9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</a:tr>
              <a:tr h="410367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етских садов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C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58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53,7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577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496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697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разование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CF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783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ультура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355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порт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259,3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школ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ителя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ботники 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культур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 121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2 893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34,9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348,6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542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Содержимое 9"/>
          <p:cNvGraphicFramePr>
            <a:graphicFrameLocks/>
          </p:cNvGraphicFramePr>
          <p:nvPr/>
        </p:nvGraphicFramePr>
        <p:xfrm>
          <a:off x="4714844" y="3929066"/>
          <a:ext cx="4429156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929190" y="3643314"/>
            <a:ext cx="115212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МРОТ</a:t>
            </a:r>
            <a:r>
              <a:rPr lang="en-US" sz="1400" b="1" dirty="0" smtClean="0">
                <a:solidFill>
                  <a:srgbClr val="474747"/>
                </a:solidFill>
              </a:rPr>
              <a:t> </a:t>
            </a:r>
            <a:r>
              <a:rPr lang="ru-RU" sz="1400" b="1" dirty="0" smtClean="0">
                <a:solidFill>
                  <a:srgbClr val="474747"/>
                </a:solidFill>
              </a:rPr>
              <a:t>(руб.)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29190" y="4857760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86512" y="4429132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5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91872" y="4357694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9</a:t>
            </a:r>
            <a:endParaRPr lang="ru-RU" sz="1400" b="1" dirty="0">
              <a:solidFill>
                <a:srgbClr val="474747"/>
              </a:solidFill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/>
        </p:nvGraphicFramePr>
        <p:xfrm>
          <a:off x="4714876" y="428604"/>
          <a:ext cx="4429124" cy="285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5572132" y="0"/>
            <a:ext cx="271464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166B74"/>
                </a:solidFill>
              </a:rPr>
              <a:t>оплата труда </a:t>
            </a:r>
            <a:endParaRPr lang="ru-RU" sz="2000" b="1" dirty="0">
              <a:solidFill>
                <a:srgbClr val="166B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29256" y="5214950"/>
            <a:ext cx="3168352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965D00"/>
                </a:solidFill>
              </a:rPr>
              <a:t>Другие расходы  </a:t>
            </a:r>
            <a:endParaRPr lang="ru-RU" sz="2000" b="1" dirty="0">
              <a:solidFill>
                <a:srgbClr val="965D00"/>
              </a:solidFill>
            </a:endParaRPr>
          </a:p>
        </p:txBody>
      </p:sp>
      <p:grpSp>
        <p:nvGrpSpPr>
          <p:cNvPr id="4" name="Группа 15"/>
          <p:cNvGrpSpPr/>
          <p:nvPr/>
        </p:nvGrpSpPr>
        <p:grpSpPr>
          <a:xfrm>
            <a:off x="4857752" y="5786454"/>
            <a:ext cx="1964600" cy="982300"/>
            <a:chOff x="2535961" y="0"/>
            <a:chExt cx="1964600" cy="9823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2535961" y="0"/>
              <a:ext cx="1964600" cy="982300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2583913" y="47952"/>
              <a:ext cx="1868696" cy="886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ts val="13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Расходы на оплату коммунальных услуг (с учетом роста тарифов)  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grpSp>
        <p:nvGrpSpPr>
          <p:cNvPr id="6" name="Группа 21"/>
          <p:cNvGrpSpPr/>
          <p:nvPr/>
        </p:nvGrpSpPr>
        <p:grpSpPr>
          <a:xfrm>
            <a:off x="6929454" y="5715016"/>
            <a:ext cx="2120626" cy="1060313"/>
            <a:chOff x="0" y="0"/>
            <a:chExt cx="2120626" cy="1060313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0"/>
              <a:ext cx="2120626" cy="1060313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51760" y="51760"/>
              <a:ext cx="2017106" cy="9567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rgbClr val="603B00"/>
                  </a:solidFill>
                </a:rPr>
                <a:t>МСП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с учетом  индексации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500298" y="71414"/>
            <a:ext cx="23574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связи с планируемым изменением с 2019 года графика работы многофункционального центра + 1 832,88 тыс. рублей.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0034" y="0"/>
            <a:ext cx="82153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проекте бюджета учтены средства </a:t>
            </a:r>
          </a:p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indent="457200"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на  комплектование книжных фондов библиотек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64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замене оконных блоков в муниципальных 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77,66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ремонту кровель в муниципальных обще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023,63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благоустройство территорий муниципальных общеобразовательных организаций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398,96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здание в муниципальных общеобразовательных организациях района условий для занятий физической культурой и спортом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26,2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 </a:t>
            </a:r>
          </a:p>
        </p:txBody>
      </p:sp>
      <p:pic>
        <p:nvPicPr>
          <p:cNvPr id="7170" name="Picture 2" descr="http://www.pvsm.ru/images/2016/02/01/PIPEC-pyat-sposobov-platit-sotrudnikam.jpg"/>
          <p:cNvPicPr>
            <a:picLocks noChangeAspect="1" noChangeArrowheads="1"/>
          </p:cNvPicPr>
          <p:nvPr/>
        </p:nvPicPr>
        <p:blipFill>
          <a:blip r:embed="rId2"/>
          <a:srcRect l="25862"/>
          <a:stretch>
            <a:fillRect/>
          </a:stretch>
        </p:blipFill>
        <p:spPr bwMode="auto">
          <a:xfrm>
            <a:off x="2857488" y="4143380"/>
            <a:ext cx="6143639" cy="2619375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Картинки по запросу stabilit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0D9C7"/>
              </a:clrFrom>
              <a:clrTo>
                <a:srgbClr val="E0D9C7">
                  <a:alpha val="0"/>
                </a:srgbClr>
              </a:clrTo>
            </a:clrChange>
            <a:lum bright="18000" contrast="-33000"/>
          </a:blip>
          <a:srcRect/>
          <a:stretch>
            <a:fillRect/>
          </a:stretch>
        </p:blipFill>
        <p:spPr bwMode="auto">
          <a:xfrm flipH="1">
            <a:off x="2640702" y="3429000"/>
            <a:ext cx="6503298" cy="3429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18864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ект  бюджета  сформирован на основе  14 муниципальных программ Курского муниципального района Ставропольского края. Всего на выполнение этих  программ предусмотрено: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500034" y="1857364"/>
          <a:ext cx="8143932" cy="410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Box 38"/>
          <p:cNvSpPr txBox="1">
            <a:spLocks noChangeArrowheads="1"/>
          </p:cNvSpPr>
          <p:nvPr/>
        </p:nvSpPr>
        <p:spPr bwMode="auto">
          <a:xfrm>
            <a:off x="7858148" y="1285860"/>
            <a:ext cx="1142909" cy="33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руб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3174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38 717,5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29256" y="2928934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2 502,57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72330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1 983,89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4480" y="4429132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115 852,03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ПРЕДУСМОТРЕННЫЕ</a:t>
            </a: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 НА ВЫ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14  МУНИЦИПАЛЬНЫХ ПРОГРАММ</a:t>
            </a:r>
            <a:endParaRPr kumimoji="0" lang="ru-RU" sz="2400" b="0" i="0" u="none" strike="noStrike" kern="0" cap="none" spc="0" normalizeH="0" baseline="0" noProof="0" dirty="0" smtClean="0">
              <a:ln>
                <a:noFill/>
              </a:ln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14612" y="4929198"/>
            <a:ext cx="144562" cy="142876"/>
          </a:xfrm>
          <a:prstGeom prst="rect">
            <a:avLst/>
          </a:prstGeom>
          <a:solidFill>
            <a:srgbClr val="92D050"/>
          </a:soli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Users\krdoas\Desktop\ДЛЯ ПРЕЗЕНТАЦИЙ\24.10.2018 приостановление\2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c="http://schemas.openxmlformats.org/drawingml/2006/chart" xmlns:cdr="http://schemas.openxmlformats.org/drawingml/2006/chartDrawing" xmlns="" xmlns:a14="http://schemas.microsoft.com/office/drawing/2010/main" xmlns:lc="http://schemas.openxmlformats.org/drawingml/2006/lockedCanvas">
                  <a14:imgLayer r:embed="rId9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c="http://schemas.openxmlformats.org/drawingml/2006/chart" xmlns:cdr="http://schemas.openxmlformats.org/drawingml/2006/chartDrawing" xmlns="" xmlns:a14="http://schemas.microsoft.com/office/drawing/2010/main" xmlns:lc="http://schemas.openxmlformats.org/drawingml/2006/lockedCanvas" val="0"/>
              </a:ext>
            </a:extLst>
          </a:blip>
          <a:srcRect/>
          <a:stretch>
            <a:fillRect/>
          </a:stretch>
        </p:blipFill>
        <p:spPr bwMode="auto">
          <a:xfrm>
            <a:off x="7358082" y="2071678"/>
            <a:ext cx="618363" cy="535348"/>
          </a:xfrm>
          <a:prstGeom prst="rect">
            <a:avLst/>
          </a:prstGeom>
          <a:noFill/>
          <a:extLst>
            <a:ext uri="{909E8E84-426E-40DD-AFC4-6F175D3DCCD1}">
              <a14:hiddenFill xmlns:c="http://schemas.openxmlformats.org/drawingml/2006/chart" xmlns:cdr="http://schemas.openxmlformats.org/drawingml/2006/chartDrawing" xmlns="" xmlns:a14="http://schemas.microsoft.com/office/drawing/2010/main" xmlns:lc="http://schemas.openxmlformats.org/drawingml/2006/lockedCanvas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Картинки по запросу theatre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rId14">
                    <a14:imgEffect>
                      <a14:brightnessContrast contrast="-69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40" y="3286124"/>
            <a:ext cx="642942" cy="64294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БЮДЖЕТ   КУРСКОГО   МУНИЦИПАЛЬНОГО   РАЙОНА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357166"/>
          <a:ext cx="892975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 rot="16200000">
            <a:off x="1964513" y="267890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1"/>
          <p:cNvSpPr txBox="1"/>
          <p:nvPr/>
        </p:nvSpPr>
        <p:spPr>
          <a:xfrm rot="16200000">
            <a:off x="3821901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 rot="16200000">
            <a:off x="3250397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16200000">
            <a:off x="5107785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16200000">
            <a:off x="5679289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27000" y="5857892"/>
            <a:ext cx="4445000" cy="214314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авнобедренный треугольник 11"/>
          <p:cNvSpPr/>
          <p:nvPr/>
        </p:nvSpPr>
        <p:spPr>
          <a:xfrm>
            <a:off x="1714480" y="6072206"/>
            <a:ext cx="1250652" cy="64006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42844" y="5000636"/>
            <a:ext cx="900000" cy="900000"/>
          </a:xfrm>
          <a:prstGeom prst="ellipse">
            <a:avLst/>
          </a:prstGeom>
          <a:solidFill>
            <a:srgbClr val="92D050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643306" y="5000636"/>
            <a:ext cx="900000" cy="900000"/>
          </a:xfrm>
          <a:prstGeom prst="ellipse">
            <a:avLst/>
          </a:prstGeom>
          <a:solidFill>
            <a:srgbClr val="FF66FF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D:\Users\krdoas\Pictures\adepositphotos_54175889-stockillustratie-geld-maker-concept-vector-teken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9000" contrast="-50000"/>
          </a:blip>
          <a:srcRect/>
          <a:stretch>
            <a:fillRect/>
          </a:stretch>
        </p:blipFill>
        <p:spPr bwMode="auto">
          <a:xfrm>
            <a:off x="5214942" y="3933066"/>
            <a:ext cx="3929058" cy="292493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142844" y="5286388"/>
            <a:ext cx="928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71868" y="5286388"/>
            <a:ext cx="100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5"/>
          <p:cNvSpPr/>
          <p:nvPr/>
        </p:nvSpPr>
        <p:spPr>
          <a:xfrm>
            <a:off x="1071538" y="3071810"/>
            <a:ext cx="2730544" cy="2786082"/>
          </a:xfrm>
          <a:custGeom>
            <a:avLst/>
            <a:gdLst>
              <a:gd name="connsiteX0" fmla="*/ 1016212 w 2311824"/>
              <a:gd name="connsiteY0" fmla="*/ 0 h 2269068"/>
              <a:gd name="connsiteX1" fmla="*/ 1286724 w 2311824"/>
              <a:gd name="connsiteY1" fmla="*/ 151005 h 2269068"/>
              <a:gd name="connsiteX2" fmla="*/ 1266875 w 2311824"/>
              <a:gd name="connsiteY2" fmla="*/ 187574 h 2269068"/>
              <a:gd name="connsiteX3" fmla="*/ 1244918 w 2311824"/>
              <a:gd name="connsiteY3" fmla="*/ 296330 h 2269068"/>
              <a:gd name="connsiteX4" fmla="*/ 1524320 w 2311824"/>
              <a:gd name="connsiteY4" fmla="*/ 575732 h 2269068"/>
              <a:gd name="connsiteX5" fmla="*/ 1756005 w 2311824"/>
              <a:gd name="connsiteY5" fmla="*/ 452546 h 2269068"/>
              <a:gd name="connsiteX6" fmla="*/ 1772493 w 2311824"/>
              <a:gd name="connsiteY6" fmla="*/ 422169 h 2269068"/>
              <a:gd name="connsiteX7" fmla="*/ 2032423 w 2311824"/>
              <a:gd name="connsiteY7" fmla="*/ 567267 h 2269068"/>
              <a:gd name="connsiteX8" fmla="*/ 2032423 w 2311824"/>
              <a:gd name="connsiteY8" fmla="*/ 855131 h 2269068"/>
              <a:gd name="connsiteX9" fmla="*/ 2088731 w 2311824"/>
              <a:gd name="connsiteY9" fmla="*/ 860808 h 2269068"/>
              <a:gd name="connsiteX10" fmla="*/ 2311824 w 2311824"/>
              <a:gd name="connsiteY10" fmla="*/ 1134533 h 2269068"/>
              <a:gd name="connsiteX11" fmla="*/ 2088731 w 2311824"/>
              <a:gd name="connsiteY11" fmla="*/ 1408259 h 2269068"/>
              <a:gd name="connsiteX12" fmla="*/ 2032423 w 2311824"/>
              <a:gd name="connsiteY12" fmla="*/ 1413935 h 2269068"/>
              <a:gd name="connsiteX13" fmla="*/ 2032423 w 2311824"/>
              <a:gd name="connsiteY13" fmla="*/ 1701801 h 2269068"/>
              <a:gd name="connsiteX14" fmla="*/ 1016211 w 2311824"/>
              <a:gd name="connsiteY14" fmla="*/ 2269068 h 2269068"/>
              <a:gd name="connsiteX15" fmla="*/ 0 w 2311824"/>
              <a:gd name="connsiteY15" fmla="*/ 1701801 h 2269068"/>
              <a:gd name="connsiteX16" fmla="*/ 0 w 2311824"/>
              <a:gd name="connsiteY16" fmla="*/ 567267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11824" h="2269068">
                <a:moveTo>
                  <a:pt x="1016212" y="0"/>
                </a:moveTo>
                <a:lnTo>
                  <a:pt x="1286724" y="151005"/>
                </a:lnTo>
                <a:lnTo>
                  <a:pt x="1266875" y="187574"/>
                </a:lnTo>
                <a:cubicBezTo>
                  <a:pt x="1252737" y="221002"/>
                  <a:pt x="1244918" y="257753"/>
                  <a:pt x="1244918" y="296330"/>
                </a:cubicBezTo>
                <a:cubicBezTo>
                  <a:pt x="1244918" y="450639"/>
                  <a:pt x="1370011" y="575732"/>
                  <a:pt x="1524320" y="575732"/>
                </a:cubicBezTo>
                <a:cubicBezTo>
                  <a:pt x="1620763" y="575732"/>
                  <a:pt x="1705794" y="526868"/>
                  <a:pt x="1756005" y="452546"/>
                </a:cubicBezTo>
                <a:lnTo>
                  <a:pt x="1772493" y="422169"/>
                </a:lnTo>
                <a:lnTo>
                  <a:pt x="2032423" y="567267"/>
                </a:lnTo>
                <a:lnTo>
                  <a:pt x="2032423" y="855131"/>
                </a:lnTo>
                <a:lnTo>
                  <a:pt x="2088731" y="860808"/>
                </a:lnTo>
                <a:cubicBezTo>
                  <a:pt x="2216050" y="886861"/>
                  <a:pt x="2311824" y="999513"/>
                  <a:pt x="2311824" y="1134533"/>
                </a:cubicBezTo>
                <a:cubicBezTo>
                  <a:pt x="2311824" y="1269553"/>
                  <a:pt x="2216050" y="1382205"/>
                  <a:pt x="2088731" y="1408259"/>
                </a:cubicBezTo>
                <a:lnTo>
                  <a:pt x="2032423" y="1413935"/>
                </a:lnTo>
                <a:lnTo>
                  <a:pt x="2032423" y="1701801"/>
                </a:lnTo>
                <a:lnTo>
                  <a:pt x="1016211" y="2269068"/>
                </a:lnTo>
                <a:lnTo>
                  <a:pt x="0" y="1701801"/>
                </a:lnTo>
                <a:lnTo>
                  <a:pt x="0" y="567267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2" name="Группа 16"/>
          <p:cNvGrpSpPr/>
          <p:nvPr/>
        </p:nvGrpSpPr>
        <p:grpSpPr>
          <a:xfrm>
            <a:off x="2214546" y="1071546"/>
            <a:ext cx="2500330" cy="2714644"/>
            <a:chOff x="2684465" y="1802240"/>
            <a:chExt cx="2032423" cy="2269069"/>
          </a:xfrm>
          <a:solidFill>
            <a:srgbClr val="92D050"/>
          </a:solidFill>
        </p:grpSpPr>
        <p:sp>
          <p:nvSpPr>
            <p:cNvPr id="13" name="Freeform 20"/>
            <p:cNvSpPr/>
            <p:nvPr/>
          </p:nvSpPr>
          <p:spPr>
            <a:xfrm rot="10800000">
              <a:off x="2684465" y="1802240"/>
              <a:ext cx="2032423" cy="2269069"/>
            </a:xfrm>
            <a:custGeom>
              <a:avLst/>
              <a:gdLst>
                <a:gd name="connsiteX0" fmla="*/ 1016211 w 2032423"/>
                <a:gd name="connsiteY0" fmla="*/ 2269069 h 2269069"/>
                <a:gd name="connsiteX1" fmla="*/ 0 w 2032423"/>
                <a:gd name="connsiteY1" fmla="*/ 1701802 h 2269069"/>
                <a:gd name="connsiteX2" fmla="*/ 0 w 2032423"/>
                <a:gd name="connsiteY2" fmla="*/ 1412649 h 2269069"/>
                <a:gd name="connsiteX3" fmla="*/ 43511 w 2032423"/>
                <a:gd name="connsiteY3" fmla="*/ 1408263 h 2269069"/>
                <a:gd name="connsiteX4" fmla="*/ 266604 w 2032423"/>
                <a:gd name="connsiteY4" fmla="*/ 1134537 h 2269069"/>
                <a:gd name="connsiteX5" fmla="*/ 43511 w 2032423"/>
                <a:gd name="connsiteY5" fmla="*/ 860812 h 2269069"/>
                <a:gd name="connsiteX6" fmla="*/ 0 w 2032423"/>
                <a:gd name="connsiteY6" fmla="*/ 856425 h 2269069"/>
                <a:gd name="connsiteX7" fmla="*/ 0 w 2032423"/>
                <a:gd name="connsiteY7" fmla="*/ 567268 h 2269069"/>
                <a:gd name="connsiteX8" fmla="*/ 1016212 w 2032423"/>
                <a:gd name="connsiteY8" fmla="*/ 1 h 2269069"/>
                <a:gd name="connsiteX9" fmla="*/ 1279671 w 2032423"/>
                <a:gd name="connsiteY9" fmla="*/ 147068 h 2269069"/>
                <a:gd name="connsiteX10" fmla="*/ 1292634 w 2032423"/>
                <a:gd name="connsiteY10" fmla="*/ 123186 h 2269069"/>
                <a:gd name="connsiteX11" fmla="*/ 1524318 w 2032423"/>
                <a:gd name="connsiteY11" fmla="*/ 0 h 2269069"/>
                <a:gd name="connsiteX12" fmla="*/ 1803720 w 2032423"/>
                <a:gd name="connsiteY12" fmla="*/ 279402 h 2269069"/>
                <a:gd name="connsiteX13" fmla="*/ 1781763 w 2032423"/>
                <a:gd name="connsiteY13" fmla="*/ 388158 h 2269069"/>
                <a:gd name="connsiteX14" fmla="*/ 1765439 w 2032423"/>
                <a:gd name="connsiteY14" fmla="*/ 418233 h 2269069"/>
                <a:gd name="connsiteX15" fmla="*/ 2032423 w 2032423"/>
                <a:gd name="connsiteY15" fmla="*/ 567268 h 2269069"/>
                <a:gd name="connsiteX16" fmla="*/ 2032423 w 2032423"/>
                <a:gd name="connsiteY16" fmla="*/ 1701802 h 22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9">
                  <a:moveTo>
                    <a:pt x="1016211" y="2269069"/>
                  </a:moveTo>
                  <a:lnTo>
                    <a:pt x="0" y="1701802"/>
                  </a:lnTo>
                  <a:lnTo>
                    <a:pt x="0" y="1412649"/>
                  </a:lnTo>
                  <a:lnTo>
                    <a:pt x="43511" y="1408263"/>
                  </a:lnTo>
                  <a:cubicBezTo>
                    <a:pt x="170830" y="1382209"/>
                    <a:pt x="266604" y="1269557"/>
                    <a:pt x="266604" y="1134537"/>
                  </a:cubicBezTo>
                  <a:cubicBezTo>
                    <a:pt x="266604" y="999517"/>
                    <a:pt x="170830" y="886865"/>
                    <a:pt x="43511" y="860812"/>
                  </a:cubicBezTo>
                  <a:lnTo>
                    <a:pt x="0" y="856425"/>
                  </a:lnTo>
                  <a:lnTo>
                    <a:pt x="0" y="567268"/>
                  </a:lnTo>
                  <a:lnTo>
                    <a:pt x="1016212" y="1"/>
                  </a:lnTo>
                  <a:lnTo>
                    <a:pt x="1279671" y="147068"/>
                  </a:lnTo>
                  <a:lnTo>
                    <a:pt x="1292634" y="123186"/>
                  </a:lnTo>
                  <a:cubicBezTo>
                    <a:pt x="1342844" y="48865"/>
                    <a:pt x="1427875" y="0"/>
                    <a:pt x="1524318" y="0"/>
                  </a:cubicBezTo>
                  <a:cubicBezTo>
                    <a:pt x="1678627" y="0"/>
                    <a:pt x="1803720" y="125093"/>
                    <a:pt x="1803720" y="279402"/>
                  </a:cubicBezTo>
                  <a:cubicBezTo>
                    <a:pt x="1803720" y="317979"/>
                    <a:pt x="1795902" y="354731"/>
                    <a:pt x="1781763" y="388158"/>
                  </a:cubicBezTo>
                  <a:lnTo>
                    <a:pt x="1765439" y="418233"/>
                  </a:lnTo>
                  <a:lnTo>
                    <a:pt x="2032423" y="567268"/>
                  </a:lnTo>
                  <a:lnTo>
                    <a:pt x="2032423" y="1701802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858673" y="2459076"/>
              <a:ext cx="1524091" cy="79750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выделение приоритетных расходов</a:t>
              </a:r>
              <a:endParaRPr lang="ru-RU" sz="1400" b="1" dirty="0" smtClean="0"/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7" name="Freeform 21"/>
          <p:cNvSpPr/>
          <p:nvPr/>
        </p:nvSpPr>
        <p:spPr>
          <a:xfrm rot="10800000">
            <a:off x="4214810" y="1071546"/>
            <a:ext cx="2714644" cy="2714644"/>
          </a:xfrm>
          <a:custGeom>
            <a:avLst/>
            <a:gdLst>
              <a:gd name="connsiteX0" fmla="*/ 1016211 w 2299026"/>
              <a:gd name="connsiteY0" fmla="*/ 2269068 h 2269068"/>
              <a:gd name="connsiteX1" fmla="*/ 0 w 2299026"/>
              <a:gd name="connsiteY1" fmla="*/ 1701801 h 2269068"/>
              <a:gd name="connsiteX2" fmla="*/ 0 w 2299026"/>
              <a:gd name="connsiteY2" fmla="*/ 567267 h 2269068"/>
              <a:gd name="connsiteX3" fmla="*/ 266985 w 2299026"/>
              <a:gd name="connsiteY3" fmla="*/ 418232 h 2269068"/>
              <a:gd name="connsiteX4" fmla="*/ 276421 w 2299026"/>
              <a:gd name="connsiteY4" fmla="*/ 435616 h 2269068"/>
              <a:gd name="connsiteX5" fmla="*/ 508105 w 2299026"/>
              <a:gd name="connsiteY5" fmla="*/ 558802 h 2269068"/>
              <a:gd name="connsiteX6" fmla="*/ 787507 w 2299026"/>
              <a:gd name="connsiteY6" fmla="*/ 279400 h 2269068"/>
              <a:gd name="connsiteX7" fmla="*/ 765550 w 2299026"/>
              <a:gd name="connsiteY7" fmla="*/ 170644 h 2269068"/>
              <a:gd name="connsiteX8" fmla="*/ 752753 w 2299026"/>
              <a:gd name="connsiteY8" fmla="*/ 147067 h 2269068"/>
              <a:gd name="connsiteX9" fmla="*/ 1016212 w 2299026"/>
              <a:gd name="connsiteY9" fmla="*/ 0 h 2269068"/>
              <a:gd name="connsiteX10" fmla="*/ 2032423 w 2299026"/>
              <a:gd name="connsiteY10" fmla="*/ 567267 h 2269068"/>
              <a:gd name="connsiteX11" fmla="*/ 2032423 w 2299026"/>
              <a:gd name="connsiteY11" fmla="*/ 856422 h 2269068"/>
              <a:gd name="connsiteX12" fmla="*/ 2075933 w 2299026"/>
              <a:gd name="connsiteY12" fmla="*/ 860809 h 2269068"/>
              <a:gd name="connsiteX13" fmla="*/ 2299026 w 2299026"/>
              <a:gd name="connsiteY13" fmla="*/ 1134534 h 2269068"/>
              <a:gd name="connsiteX14" fmla="*/ 2075933 w 2299026"/>
              <a:gd name="connsiteY14" fmla="*/ 1408260 h 2269068"/>
              <a:gd name="connsiteX15" fmla="*/ 2032423 w 2299026"/>
              <a:gd name="connsiteY15" fmla="*/ 1412646 h 2269068"/>
              <a:gd name="connsiteX16" fmla="*/ 2032423 w 2299026"/>
              <a:gd name="connsiteY16" fmla="*/ 1701801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99026" h="2269068">
                <a:moveTo>
                  <a:pt x="1016211" y="2269068"/>
                </a:moveTo>
                <a:lnTo>
                  <a:pt x="0" y="1701801"/>
                </a:lnTo>
                <a:lnTo>
                  <a:pt x="0" y="567267"/>
                </a:lnTo>
                <a:lnTo>
                  <a:pt x="266985" y="418232"/>
                </a:lnTo>
                <a:lnTo>
                  <a:pt x="276421" y="435616"/>
                </a:lnTo>
                <a:cubicBezTo>
                  <a:pt x="326631" y="509938"/>
                  <a:pt x="411662" y="558802"/>
                  <a:pt x="508105" y="558802"/>
                </a:cubicBezTo>
                <a:cubicBezTo>
                  <a:pt x="662414" y="558802"/>
                  <a:pt x="787507" y="433709"/>
                  <a:pt x="787507" y="279400"/>
                </a:cubicBezTo>
                <a:cubicBezTo>
                  <a:pt x="787507" y="240823"/>
                  <a:pt x="779689" y="204072"/>
                  <a:pt x="765550" y="170644"/>
                </a:cubicBezTo>
                <a:lnTo>
                  <a:pt x="752753" y="147067"/>
                </a:lnTo>
                <a:lnTo>
                  <a:pt x="1016212" y="0"/>
                </a:lnTo>
                <a:lnTo>
                  <a:pt x="2032423" y="567267"/>
                </a:lnTo>
                <a:lnTo>
                  <a:pt x="2032423" y="856422"/>
                </a:lnTo>
                <a:lnTo>
                  <a:pt x="2075933" y="860809"/>
                </a:lnTo>
                <a:cubicBezTo>
                  <a:pt x="2203252" y="886862"/>
                  <a:pt x="2299026" y="999514"/>
                  <a:pt x="2299026" y="1134534"/>
                </a:cubicBezTo>
                <a:cubicBezTo>
                  <a:pt x="2299026" y="1269554"/>
                  <a:pt x="2203252" y="1382206"/>
                  <a:pt x="2075933" y="1408260"/>
                </a:cubicBezTo>
                <a:lnTo>
                  <a:pt x="2032423" y="1412646"/>
                </a:lnTo>
                <a:lnTo>
                  <a:pt x="2032423" y="1701801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grpSp>
        <p:nvGrpSpPr>
          <p:cNvPr id="3" name="Группа 18"/>
          <p:cNvGrpSpPr/>
          <p:nvPr/>
        </p:nvGrpSpPr>
        <p:grpSpPr>
          <a:xfrm>
            <a:off x="5570034" y="3000372"/>
            <a:ext cx="2686613" cy="2857520"/>
            <a:chOff x="5733098" y="3495576"/>
            <a:chExt cx="2032423" cy="2269068"/>
          </a:xfrm>
          <a:solidFill>
            <a:srgbClr val="92D050"/>
          </a:solidFill>
        </p:grpSpPr>
        <p:sp>
          <p:nvSpPr>
            <p:cNvPr id="19" name="Freeform 22"/>
            <p:cNvSpPr/>
            <p:nvPr/>
          </p:nvSpPr>
          <p:spPr>
            <a:xfrm rot="10800000">
              <a:off x="5733098" y="3495576"/>
              <a:ext cx="2032423" cy="2269068"/>
            </a:xfrm>
            <a:custGeom>
              <a:avLst/>
              <a:gdLst>
                <a:gd name="connsiteX0" fmla="*/ 1016211 w 2032423"/>
                <a:gd name="connsiteY0" fmla="*/ 2269068 h 2269068"/>
                <a:gd name="connsiteX1" fmla="*/ 0 w 2032423"/>
                <a:gd name="connsiteY1" fmla="*/ 1701801 h 2269068"/>
                <a:gd name="connsiteX2" fmla="*/ 0 w 2032423"/>
                <a:gd name="connsiteY2" fmla="*/ 567267 h 2269068"/>
                <a:gd name="connsiteX3" fmla="*/ 1016212 w 2032423"/>
                <a:gd name="connsiteY3" fmla="*/ 0 h 2269068"/>
                <a:gd name="connsiteX4" fmla="*/ 2032423 w 2032423"/>
                <a:gd name="connsiteY4" fmla="*/ 567267 h 2269068"/>
                <a:gd name="connsiteX5" fmla="*/ 2032423 w 2032423"/>
                <a:gd name="connsiteY5" fmla="*/ 855133 h 2269068"/>
                <a:gd name="connsiteX6" fmla="*/ 1976116 w 2032423"/>
                <a:gd name="connsiteY6" fmla="*/ 860810 h 2269068"/>
                <a:gd name="connsiteX7" fmla="*/ 1753023 w 2032423"/>
                <a:gd name="connsiteY7" fmla="*/ 1134535 h 2269068"/>
                <a:gd name="connsiteX8" fmla="*/ 1976116 w 2032423"/>
                <a:gd name="connsiteY8" fmla="*/ 1408261 h 2269068"/>
                <a:gd name="connsiteX9" fmla="*/ 2032423 w 2032423"/>
                <a:gd name="connsiteY9" fmla="*/ 1413937 h 2269068"/>
                <a:gd name="connsiteX10" fmla="*/ 2032423 w 2032423"/>
                <a:gd name="connsiteY10" fmla="*/ 1701801 h 2269068"/>
                <a:gd name="connsiteX11" fmla="*/ 1772490 w 2032423"/>
                <a:gd name="connsiteY11" fmla="*/ 1846901 h 2269068"/>
                <a:gd name="connsiteX12" fmla="*/ 1781761 w 2032423"/>
                <a:gd name="connsiteY12" fmla="*/ 1863982 h 2269068"/>
                <a:gd name="connsiteX13" fmla="*/ 1803718 w 2032423"/>
                <a:gd name="connsiteY13" fmla="*/ 1972738 h 2269068"/>
                <a:gd name="connsiteX14" fmla="*/ 1524316 w 2032423"/>
                <a:gd name="connsiteY14" fmla="*/ 2252140 h 2269068"/>
                <a:gd name="connsiteX15" fmla="*/ 1292632 w 2032423"/>
                <a:gd name="connsiteY15" fmla="*/ 2128954 h 2269068"/>
                <a:gd name="connsiteX16" fmla="*/ 1286721 w 2032423"/>
                <a:gd name="connsiteY16" fmla="*/ 2118065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8">
                  <a:moveTo>
                    <a:pt x="1016211" y="2269068"/>
                  </a:moveTo>
                  <a:lnTo>
                    <a:pt x="0" y="1701801"/>
                  </a:lnTo>
                  <a:lnTo>
                    <a:pt x="0" y="567267"/>
                  </a:lnTo>
                  <a:lnTo>
                    <a:pt x="1016212" y="0"/>
                  </a:lnTo>
                  <a:lnTo>
                    <a:pt x="2032423" y="567267"/>
                  </a:lnTo>
                  <a:lnTo>
                    <a:pt x="2032423" y="855133"/>
                  </a:lnTo>
                  <a:lnTo>
                    <a:pt x="1976116" y="860810"/>
                  </a:lnTo>
                  <a:cubicBezTo>
                    <a:pt x="1848798" y="886863"/>
                    <a:pt x="1753023" y="999515"/>
                    <a:pt x="1753023" y="1134535"/>
                  </a:cubicBezTo>
                  <a:cubicBezTo>
                    <a:pt x="1753023" y="1269555"/>
                    <a:pt x="1848798" y="1382207"/>
                    <a:pt x="1976116" y="1408261"/>
                  </a:cubicBezTo>
                  <a:lnTo>
                    <a:pt x="2032423" y="1413937"/>
                  </a:lnTo>
                  <a:lnTo>
                    <a:pt x="2032423" y="1701801"/>
                  </a:lnTo>
                  <a:lnTo>
                    <a:pt x="1772490" y="1846901"/>
                  </a:lnTo>
                  <a:lnTo>
                    <a:pt x="1781761" y="1863982"/>
                  </a:lnTo>
                  <a:cubicBezTo>
                    <a:pt x="1795900" y="1897410"/>
                    <a:pt x="1803718" y="1934161"/>
                    <a:pt x="1803718" y="1972738"/>
                  </a:cubicBezTo>
                  <a:cubicBezTo>
                    <a:pt x="1803718" y="2127047"/>
                    <a:pt x="1678625" y="2252140"/>
                    <a:pt x="1524316" y="2252140"/>
                  </a:cubicBezTo>
                  <a:cubicBezTo>
                    <a:pt x="1427873" y="2252140"/>
                    <a:pt x="1342842" y="2203276"/>
                    <a:pt x="1292632" y="2128954"/>
                  </a:cubicBezTo>
                  <a:lnTo>
                    <a:pt x="1286721" y="2118065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004899" y="4006116"/>
              <a:ext cx="1621285" cy="127085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другие меры по рациональному распоряжению 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имеющимися 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средствами бюджета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 в ходе его исполнения</a:t>
              </a:r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4" name="Группа 19"/>
          <p:cNvGrpSpPr/>
          <p:nvPr/>
        </p:nvGrpSpPr>
        <p:grpSpPr>
          <a:xfrm>
            <a:off x="3357554" y="3071810"/>
            <a:ext cx="2643206" cy="2786082"/>
            <a:chOff x="3721615" y="3098673"/>
            <a:chExt cx="2311824" cy="2269068"/>
          </a:xfrm>
          <a:solidFill>
            <a:srgbClr val="FF66FF"/>
          </a:solidFill>
        </p:grpSpPr>
        <p:sp>
          <p:nvSpPr>
            <p:cNvPr id="22" name="Freeform 23"/>
            <p:cNvSpPr/>
            <p:nvPr/>
          </p:nvSpPr>
          <p:spPr>
            <a:xfrm rot="10800000">
              <a:off x="3721615" y="3098673"/>
              <a:ext cx="2311824" cy="2269068"/>
            </a:xfrm>
            <a:custGeom>
              <a:avLst/>
              <a:gdLst>
                <a:gd name="connsiteX0" fmla="*/ 1295612 w 2311824"/>
                <a:gd name="connsiteY0" fmla="*/ 2269068 h 2269068"/>
                <a:gd name="connsiteX1" fmla="*/ 279401 w 2311824"/>
                <a:gd name="connsiteY1" fmla="*/ 1701801 h 2269068"/>
                <a:gd name="connsiteX2" fmla="*/ 279401 w 2311824"/>
                <a:gd name="connsiteY2" fmla="*/ 1413937 h 2269068"/>
                <a:gd name="connsiteX3" fmla="*/ 223093 w 2311824"/>
                <a:gd name="connsiteY3" fmla="*/ 1408261 h 2269068"/>
                <a:gd name="connsiteX4" fmla="*/ 0 w 2311824"/>
                <a:gd name="connsiteY4" fmla="*/ 1134535 h 2269068"/>
                <a:gd name="connsiteX5" fmla="*/ 223093 w 2311824"/>
                <a:gd name="connsiteY5" fmla="*/ 860810 h 2269068"/>
                <a:gd name="connsiteX6" fmla="*/ 279401 w 2311824"/>
                <a:gd name="connsiteY6" fmla="*/ 855133 h 2269068"/>
                <a:gd name="connsiteX7" fmla="*/ 279401 w 2311824"/>
                <a:gd name="connsiteY7" fmla="*/ 567267 h 2269068"/>
                <a:gd name="connsiteX8" fmla="*/ 1295613 w 2311824"/>
                <a:gd name="connsiteY8" fmla="*/ 0 h 2269068"/>
                <a:gd name="connsiteX9" fmla="*/ 2311824 w 2311824"/>
                <a:gd name="connsiteY9" fmla="*/ 567267 h 2269068"/>
                <a:gd name="connsiteX10" fmla="*/ 2311824 w 2311824"/>
                <a:gd name="connsiteY10" fmla="*/ 855133 h 2269068"/>
                <a:gd name="connsiteX11" fmla="*/ 2255517 w 2311824"/>
                <a:gd name="connsiteY11" fmla="*/ 860810 h 2269068"/>
                <a:gd name="connsiteX12" fmla="*/ 2032424 w 2311824"/>
                <a:gd name="connsiteY12" fmla="*/ 1134535 h 2269068"/>
                <a:gd name="connsiteX13" fmla="*/ 2255517 w 2311824"/>
                <a:gd name="connsiteY13" fmla="*/ 1408261 h 2269068"/>
                <a:gd name="connsiteX14" fmla="*/ 2311824 w 2311824"/>
                <a:gd name="connsiteY14" fmla="*/ 1413937 h 2269068"/>
                <a:gd name="connsiteX15" fmla="*/ 2311824 w 2311824"/>
                <a:gd name="connsiteY15" fmla="*/ 1701801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11824" h="2269068">
                  <a:moveTo>
                    <a:pt x="1295612" y="2269068"/>
                  </a:moveTo>
                  <a:lnTo>
                    <a:pt x="279401" y="1701801"/>
                  </a:lnTo>
                  <a:lnTo>
                    <a:pt x="279401" y="1413937"/>
                  </a:lnTo>
                  <a:lnTo>
                    <a:pt x="223093" y="1408261"/>
                  </a:lnTo>
                  <a:cubicBezTo>
                    <a:pt x="95774" y="1382207"/>
                    <a:pt x="0" y="1269555"/>
                    <a:pt x="0" y="1134535"/>
                  </a:cubicBezTo>
                  <a:cubicBezTo>
                    <a:pt x="0" y="999515"/>
                    <a:pt x="95774" y="886863"/>
                    <a:pt x="223093" y="860810"/>
                  </a:cubicBezTo>
                  <a:lnTo>
                    <a:pt x="279401" y="855133"/>
                  </a:lnTo>
                  <a:lnTo>
                    <a:pt x="279401" y="567267"/>
                  </a:lnTo>
                  <a:lnTo>
                    <a:pt x="1295613" y="0"/>
                  </a:lnTo>
                  <a:lnTo>
                    <a:pt x="2311824" y="567267"/>
                  </a:lnTo>
                  <a:lnTo>
                    <a:pt x="2311824" y="855133"/>
                  </a:lnTo>
                  <a:lnTo>
                    <a:pt x="2255517" y="860810"/>
                  </a:lnTo>
                  <a:cubicBezTo>
                    <a:pt x="2128199" y="886863"/>
                    <a:pt x="2032424" y="999515"/>
                    <a:pt x="2032424" y="1134535"/>
                  </a:cubicBezTo>
                  <a:cubicBezTo>
                    <a:pt x="2032424" y="1269555"/>
                    <a:pt x="2128199" y="1382207"/>
                    <a:pt x="2255517" y="1408261"/>
                  </a:cubicBezTo>
                  <a:lnTo>
                    <a:pt x="2311824" y="1413937"/>
                  </a:lnTo>
                  <a:lnTo>
                    <a:pt x="2311824" y="1701801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971542" y="3680485"/>
              <a:ext cx="1749488" cy="107784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инструменты обеспечения устойчивости бюджета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1000100" y="3643314"/>
            <a:ext cx="2357454" cy="1956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ужесточением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бюджетной дисциплины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 доведении лимитов бюджетных обязательств ГРБС и межбюджетных трансфертов муниципальным образованиям</a:t>
            </a:r>
          </a:p>
          <a:p>
            <a:pPr algn="ctr">
              <a:lnSpc>
                <a:spcPts val="1100"/>
              </a:lnSpc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72000" y="1428736"/>
            <a:ext cx="2286016" cy="1907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нтроль за использованием  субсидий</a:t>
            </a:r>
          </a:p>
          <a:p>
            <a:pPr algn="ctr">
              <a:lnSpc>
                <a:spcPts val="1700"/>
              </a:lnSpc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а выполнение муниципальных заданий муниципальным бюджетным учреждениям</a:t>
            </a:r>
          </a:p>
          <a:p>
            <a:pPr algn="ctr">
              <a:lnSpc>
                <a:spcPts val="1700"/>
              </a:lnSpc>
            </a:pP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Обеспечение устойчивости бюджета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Курского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муниципального района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2" descr="C:\Documents and Settings\Home\Рабочий стол\Презентации\Презентации\1424689183_image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12" y="857232"/>
            <a:ext cx="3286148" cy="3143272"/>
          </a:xfrm>
          <a:prstGeom prst="rect">
            <a:avLst/>
          </a:prstGeom>
          <a:noFill/>
        </p:spPr>
      </p:pic>
      <p:sp>
        <p:nvSpPr>
          <p:cNvPr id="183300" name="Line 6"/>
          <p:cNvSpPr>
            <a:spLocks noChangeShapeType="1"/>
          </p:cNvSpPr>
          <p:nvPr/>
        </p:nvSpPr>
        <p:spPr bwMode="auto">
          <a:xfrm>
            <a:off x="1258888" y="2060575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83302" name="Text Box 8"/>
          <p:cNvSpPr txBox="1">
            <a:spLocks noChangeArrowheads="1"/>
          </p:cNvSpPr>
          <p:nvPr/>
        </p:nvSpPr>
        <p:spPr bwMode="auto">
          <a:xfrm>
            <a:off x="7667625" y="98107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1800" b="0">
              <a:latin typeface="Arial" charset="0"/>
            </a:endParaRPr>
          </a:p>
        </p:txBody>
      </p:sp>
      <p:sp>
        <p:nvSpPr>
          <p:cNvPr id="183305" name="Text Box 12"/>
          <p:cNvSpPr txBox="1">
            <a:spLocks noChangeArrowheads="1"/>
          </p:cNvSpPr>
          <p:nvPr/>
        </p:nvSpPr>
        <p:spPr bwMode="auto">
          <a:xfrm>
            <a:off x="3000365" y="2571745"/>
            <a:ext cx="285752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МЕСТНЫЙ </a:t>
            </a:r>
          </a:p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5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500" dirty="0"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6211669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eaLnBrk="0" hangingPunct="0">
              <a:defRPr/>
            </a:pPr>
            <a:r>
              <a:rPr lang="ru-RU" altLang="ru-RU" sz="3600" i="1" dirty="0" smtClean="0">
                <a:ln>
                  <a:solidFill>
                    <a:schemeClr val="tx2">
                      <a:lumMod val="75000"/>
                    </a:schemeClr>
                  </a:solidFill>
                </a:ln>
                <a:solidFill>
                  <a:schemeClr val="accent6"/>
                </a:solidFill>
                <a:latin typeface="Arial Narrow" pitchFamily="34" charset="0"/>
              </a:rPr>
              <a:t>«Собирай по ягодке ─ наберешь кузовок»</a:t>
            </a:r>
            <a:endParaRPr lang="ru-RU" altLang="ru-RU" sz="3600" i="1" dirty="0">
              <a:ln>
                <a:solidFill>
                  <a:schemeClr val="tx2">
                    <a:lumMod val="75000"/>
                  </a:schemeClr>
                </a:solidFill>
              </a:ln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8" name="Выгнутая влево стрелка 17"/>
          <p:cNvSpPr/>
          <p:nvPr/>
        </p:nvSpPr>
        <p:spPr>
          <a:xfrm>
            <a:off x="500034" y="1000108"/>
            <a:ext cx="2143140" cy="3786214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Выгнутая влево стрелка 18"/>
          <p:cNvSpPr/>
          <p:nvPr/>
        </p:nvSpPr>
        <p:spPr>
          <a:xfrm rot="10800000">
            <a:off x="6500826" y="1000108"/>
            <a:ext cx="2071702" cy="3500462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2910" y="2413337"/>
            <a:ext cx="2357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ОБИЛИЗАЦИЯ ДОХОДНЫХ ИСТОЧНИКОВ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15008" y="2428868"/>
            <a:ext cx="23574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АЧИТЕЛЬНОЕ ОТНОШЕНИЕ К БЮДЖЕТНЫМ СРЕДСТВАМ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00298" y="4143380"/>
            <a:ext cx="414340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ВЫСОКАЯ ОТВЕТСТВЕНОСТЬ ВСЕХ ПРИЧАСТНЫХ К УПРАВЛЕНИЮ И РАСПОРЯЖЕНИЮ ФИНАНСОВЫМИ  РЕСУРСАМИ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9144000" cy="864096"/>
          </a:xfrm>
          <a:prstGeom prst="rect">
            <a:avLst/>
          </a:prstGeom>
          <a:solidFill>
            <a:srgbClr val="CCCCFF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успешной реализации предлагаемого бюджета на 2019 год и плановый период 2020 и 2021 годов необходимы: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нутый угол 5"/>
          <p:cNvSpPr/>
          <p:nvPr/>
        </p:nvSpPr>
        <p:spPr>
          <a:xfrm>
            <a:off x="250825" y="188913"/>
            <a:ext cx="8642350" cy="6048375"/>
          </a:xfrm>
          <a:prstGeom prst="foldedCorner">
            <a:avLst>
              <a:gd name="adj" fmla="val 9948"/>
            </a:avLst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/>
          </a:p>
        </p:txBody>
      </p:sp>
      <p:sp>
        <p:nvSpPr>
          <p:cNvPr id="55299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716963" cy="6191250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ru-RU" sz="2000" dirty="0" smtClean="0">
                <a:cs typeface="Times New Roman" pitchFamily="18" charset="0"/>
              </a:rPr>
              <a:t>Контактная информация: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cs typeface="Times New Roman" pitchFamily="18" charset="0"/>
            </a:endParaRP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 </a:t>
            </a:r>
            <a:r>
              <a:rPr lang="ru-RU" sz="2400" b="1" dirty="0" smtClean="0">
                <a:cs typeface="Times New Roman" pitchFamily="18" charset="0"/>
              </a:rPr>
              <a:t>Финансовое управление </a:t>
            </a: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2400" b="1" dirty="0" smtClean="0">
                <a:cs typeface="Times New Roman" pitchFamily="18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cs typeface="Times New Roman" pitchFamily="18" charset="0"/>
              </a:rPr>
            </a:br>
            <a:endParaRPr lang="ru-RU" sz="2400" b="1" dirty="0" smtClean="0">
              <a:cs typeface="Times New Roman" pitchFamily="18" charset="0"/>
            </a:endParaRPr>
          </a:p>
          <a:p>
            <a:pPr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</a:t>
            </a:r>
            <a:r>
              <a:rPr lang="ru-RU" sz="1800" b="1" dirty="0" smtClean="0"/>
              <a:t>Начальник Финансового управления - Елена Владимировна Мишина</a:t>
            </a:r>
          </a:p>
          <a:p>
            <a:pPr algn="ctr">
              <a:buFontTx/>
              <a:buNone/>
              <a:defRPr/>
            </a:pPr>
            <a:endParaRPr lang="ru-RU" sz="1800" b="1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Адрес: </a:t>
            </a:r>
            <a:r>
              <a:rPr lang="ru-RU" sz="1800" dirty="0" smtClean="0"/>
              <a:t>357850,</a:t>
            </a:r>
            <a:r>
              <a:rPr lang="ru-RU" sz="1800" b="1" dirty="0" smtClean="0"/>
              <a:t> </a:t>
            </a:r>
            <a:r>
              <a:rPr lang="ru-RU" sz="1800" dirty="0" smtClean="0"/>
              <a:t>Ставропольский край,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ий район,</a:t>
            </a:r>
            <a:r>
              <a:rPr lang="ru-RU" sz="1800" b="1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станица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ая,</a:t>
            </a:r>
            <a:r>
              <a:rPr lang="ru-RU" sz="1800" b="1" dirty="0" smtClean="0"/>
              <a:t> </a:t>
            </a:r>
            <a:r>
              <a:rPr lang="ru-RU" sz="1800" dirty="0" smtClean="0"/>
              <a:t>пер. Октябрьский, 16 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Телефон для обращения граждан</a:t>
            </a:r>
            <a:r>
              <a:rPr lang="ru-RU" sz="1800" dirty="0" smtClean="0"/>
              <a:t>: 8(879-64) 6-27-99, 6-55-54;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факс: 8(879-64) 6-27-99.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Электронная почта : </a:t>
            </a:r>
            <a:r>
              <a:rPr lang="ru-RU" sz="1800" dirty="0" err="1" smtClean="0"/>
              <a:t>fukursk@mail.ru</a:t>
            </a:r>
            <a:r>
              <a:rPr lang="ru-RU" sz="1800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График работы</a:t>
            </a:r>
            <a:r>
              <a:rPr lang="ru-RU" sz="1800" dirty="0" smtClean="0"/>
              <a:t>: понедельник -  пятница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 с 8:00 до 17:00, перерыв с 12:00 до 14:00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500042"/>
            <a:ext cx="871543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фицит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а — превышение доходов бюджета над его расходами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ные обязательств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затраты организации, приводящие к уменьшению ее средств или увеличению ее обязательств. 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естр расходных обязательст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балансированность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мет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— финансовый документ, содержащий информацию об образовании и расходовании денежных средств в соответствии с </a:t>
            </a:r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и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левым назначением. 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мета расходов и доходо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финансовый план учреждения (организации), осуществляющего некоммерческую деятельность.</a:t>
            </a: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2" descr="https://avatars.mds.yandex.net/get-pdb/750514/6a779865-dc4a-46a1-8610-57a252f7612c/s12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14744" y="4071942"/>
            <a:ext cx="5143536" cy="264320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news-vendor.com/nimages/3/2/6/32665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14422" y="1571612"/>
            <a:ext cx="7629578" cy="4857760"/>
          </a:xfrm>
          <a:prstGeom prst="rect">
            <a:avLst/>
          </a:prstGeom>
          <a:noFill/>
        </p:spPr>
      </p:pic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sp>
        <p:nvSpPr>
          <p:cNvPr id="18435" name="Содержимое 2"/>
          <p:cNvSpPr>
            <a:spLocks noGrp="1"/>
          </p:cNvSpPr>
          <p:nvPr>
            <p:ph idx="1"/>
          </p:nvPr>
        </p:nvSpPr>
        <p:spPr>
          <a:xfrm>
            <a:off x="428596" y="1071546"/>
            <a:ext cx="8715404" cy="5786454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обсуждения программ развития Курского муниципального района Ставропольского края (размещаются на сайте администрации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Оценка качества муниципальных услуг (участие в социологических опросах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 бюджете на очередной финансовый год и плановый период (ежегодно в ноябре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б исполнении бюджета (ежегодно в мае)</a:t>
            </a:r>
          </a:p>
          <a:p>
            <a:pPr>
              <a:buFontTx/>
              <a:buNone/>
            </a:pP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785918" y="428604"/>
            <a:ext cx="5643602" cy="928694"/>
          </a:xfrm>
          <a:prstGeom prst="roundRect">
            <a:avLst/>
          </a:prstGeom>
          <a:solidFill>
            <a:srgbClr val="FF9999"/>
          </a:solidFill>
          <a:ln>
            <a:solidFill>
              <a:srgbClr val="CC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ЮДЖЕТНАЯ  СИСТЕМА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РОССИЙСКОЙ ФЕДЕРАЦИИ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42844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федераль</a:t>
            </a:r>
            <a:r>
              <a:rPr lang="ru-RU" sz="1600" dirty="0" smtClean="0">
                <a:solidFill>
                  <a:schemeClr val="tx1"/>
                </a:solidFill>
              </a:rPr>
              <a:t>-</a:t>
            </a:r>
          </a:p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ный</a:t>
            </a:r>
            <a:r>
              <a:rPr lang="ru-RU" sz="1600" dirty="0" smtClean="0">
                <a:solidFill>
                  <a:schemeClr val="tx1"/>
                </a:solidFill>
              </a:rPr>
              <a:t> бюджет</a:t>
            </a:r>
            <a:endParaRPr lang="ru-RU" sz="160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14480" y="2071678"/>
            <a:ext cx="2000264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государственных внебюджетных фондов</a:t>
            </a:r>
            <a:endParaRPr lang="ru-RU" sz="16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786182" y="2071678"/>
            <a:ext cx="142876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субъектов</a:t>
            </a:r>
            <a:endParaRPr lang="ru-RU" sz="16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286380" y="2071678"/>
            <a:ext cx="214314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территориальных государственных внебюджетных фондов</a:t>
            </a:r>
            <a:endParaRPr lang="ru-RU" sz="16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500958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местные бюджеты</a:t>
            </a:r>
            <a:endParaRPr lang="ru-RU" sz="1600" dirty="0"/>
          </a:p>
        </p:txBody>
      </p:sp>
      <p:cxnSp>
        <p:nvCxnSpPr>
          <p:cNvPr id="10" name="Прямая со стрелкой 9"/>
          <p:cNvCxnSpPr/>
          <p:nvPr/>
        </p:nvCxnSpPr>
        <p:spPr>
          <a:xfrm rot="16200000" flipH="1">
            <a:off x="5125644" y="875092"/>
            <a:ext cx="642942" cy="160735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2" idx="2"/>
          </p:cNvCxnSpPr>
          <p:nvPr/>
        </p:nvCxnSpPr>
        <p:spPr>
          <a:xfrm rot="5400000">
            <a:off x="4304107" y="1625192"/>
            <a:ext cx="571506" cy="35719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2" idx="2"/>
          </p:cNvCxnSpPr>
          <p:nvPr/>
        </p:nvCxnSpPr>
        <p:spPr>
          <a:xfrm rot="5400000">
            <a:off x="2553876" y="-125039"/>
            <a:ext cx="571506" cy="353618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2" idx="2"/>
          </p:cNvCxnSpPr>
          <p:nvPr/>
        </p:nvCxnSpPr>
        <p:spPr>
          <a:xfrm rot="5400000">
            <a:off x="3446851" y="839374"/>
            <a:ext cx="642944" cy="1678793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2" idx="2"/>
          </p:cNvCxnSpPr>
          <p:nvPr/>
        </p:nvCxnSpPr>
        <p:spPr>
          <a:xfrm rot="16200000" flipH="1">
            <a:off x="5982900" y="-17884"/>
            <a:ext cx="571504" cy="332186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2571736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муниципального район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5857884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ы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сельских поселений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 rot="10800000" flipV="1">
            <a:off x="4500562" y="3643314"/>
            <a:ext cx="3643338" cy="78581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rot="5400000">
            <a:off x="7536680" y="3893350"/>
            <a:ext cx="857255" cy="35718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0" y="5780782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Местный бюдже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одна из составных частей бюджетной системы РФ. Он является  финансовой основой деятельности  органов местного самоуправления. В бюджете органа местного самоуправления показываются  полученные доходы и расходы, осуществляемые  им для реализации функций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8" name="Picture 4" descr="http://life34.ru/wp-content/uploads/2014/10/20140702-20140702-IMG_5821-1024x682.jpg"/>
          <p:cNvPicPr>
            <a:picLocks noChangeAspect="1" noChangeArrowheads="1"/>
          </p:cNvPicPr>
          <p:nvPr/>
        </p:nvPicPr>
        <p:blipFill>
          <a:blip r:embed="rId2"/>
          <a:srcRect r="17073"/>
          <a:stretch>
            <a:fillRect/>
          </a:stretch>
        </p:blipFill>
        <p:spPr bwMode="auto">
          <a:xfrm>
            <a:off x="0" y="2609843"/>
            <a:ext cx="9144000" cy="4248157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0" y="0"/>
            <a:ext cx="9144000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/>
              <a:t>     </a:t>
            </a:r>
            <a:r>
              <a:rPr lang="ru-RU" sz="1100" b="1" dirty="0" err="1" smtClean="0"/>
              <a:t>Ку́рский</a:t>
            </a:r>
            <a:r>
              <a:rPr lang="ru-RU" sz="1100" b="1" dirty="0" smtClean="0"/>
              <a:t> район</a:t>
            </a:r>
            <a:r>
              <a:rPr lang="ru-RU" sz="1100" dirty="0" smtClean="0"/>
              <a:t> — территориальная единица (район) и муниципальное образование (муниципальный район) в составе Ставропольского края России.</a:t>
            </a:r>
          </a:p>
          <a:p>
            <a:pPr algn="just"/>
            <a:r>
              <a:rPr lang="ru-RU" sz="1100" dirty="0" smtClean="0"/>
              <a:t>     Административный центр — станица Курская.</a:t>
            </a:r>
          </a:p>
          <a:p>
            <a:pPr algn="just"/>
            <a:r>
              <a:rPr lang="ru-RU" sz="1100" dirty="0" smtClean="0"/>
              <a:t>     Расположен в юго-восточной части Ставропольского края. Граничит с Кабардино-Балкарией, Северной Осетией, Чеченской Республикой и Дагестаном</a:t>
            </a:r>
          </a:p>
          <a:p>
            <a:pPr algn="just"/>
            <a:r>
              <a:rPr lang="ru-RU" sz="1100" dirty="0" smtClean="0"/>
              <a:t>    Реки: Кура, Терек. </a:t>
            </a:r>
            <a:r>
              <a:rPr lang="ru-RU" sz="1100" dirty="0" err="1" smtClean="0"/>
              <a:t>Терско-Кумский</a:t>
            </a:r>
            <a:r>
              <a:rPr lang="ru-RU" sz="1100" dirty="0" smtClean="0"/>
              <a:t> канал.</a:t>
            </a:r>
          </a:p>
          <a:p>
            <a:pPr algn="just"/>
            <a:r>
              <a:rPr lang="ru-RU" sz="1100" dirty="0" smtClean="0"/>
              <a:t>    В восточной части района — песчаная Ногайская степь</a:t>
            </a:r>
          </a:p>
          <a:p>
            <a:pPr algn="just"/>
            <a:r>
              <a:rPr lang="ru-RU" sz="1100" dirty="0" smtClean="0"/>
              <a:t>    Район образован 2 января 1935 года. </a:t>
            </a:r>
          </a:p>
          <a:p>
            <a:pPr algn="just"/>
            <a:r>
              <a:rPr lang="ru-RU" sz="1100" dirty="0" smtClean="0"/>
              <a:t>    В Курском районе 47 населённых пунктов.</a:t>
            </a:r>
          </a:p>
          <a:p>
            <a:pPr algn="just"/>
            <a:r>
              <a:rPr lang="ru-RU" sz="1100" dirty="0" smtClean="0"/>
              <a:t>    Курский район относится к зоне рискового земледелия. На его территории выпадает в среднем 330 мм осадков в год. Засуха бывает в среднем 1 раз в 3-5 лет. На 1 января 2018 года в АПК входит 20 сельскохозяйственных предприятий и 90 крестьянско-фермерских хозяйств, которые являются основными производителями сельскохозяйственной продукции района.</a:t>
            </a:r>
          </a:p>
          <a:p>
            <a:pPr algn="just"/>
            <a:r>
              <a:rPr lang="ru-RU" sz="1100" dirty="0" smtClean="0"/>
              <a:t>     Район располагает сырьевыми ресурсами для производства строительных материалов — в пойме реки Терек, ведется разработка строительного песка — запасы до 60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. Для изготовления кирпича и самана используются суглинки.</a:t>
            </a:r>
          </a:p>
          <a:p>
            <a:pPr algn="just"/>
            <a:r>
              <a:rPr lang="ru-RU" sz="1100" dirty="0" smtClean="0"/>
              <a:t>      Район располагает запасами целебной минеральной воды в объёме 18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</a:t>
            </a:r>
          </a:p>
          <a:p>
            <a:pPr algn="just"/>
            <a:endParaRPr lang="ru-RU" sz="1200" dirty="0" smtClean="0"/>
          </a:p>
          <a:p>
            <a:r>
              <a:rPr lang="ru-RU" sz="1200" dirty="0" smtClean="0"/>
              <a:t/>
            </a:r>
            <a:br>
              <a:rPr lang="ru-RU" sz="1200" dirty="0" smtClean="0"/>
            </a:br>
            <a:endParaRPr lang="ru-RU" sz="1200" dirty="0"/>
          </a:p>
        </p:txBody>
      </p:sp>
      <p:sp>
        <p:nvSpPr>
          <p:cNvPr id="33794" name="AutoShape 2" descr="https://cdn.pixabay.com/photo/2017/09/01/23/01/field-2705799_128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6" name="AutoShape 4" descr="https://im0-tub-ru.yandex.net/i?id=2c6cc8e782a01b5a9d468ae5119cd078-l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9" name="AutoShape 7" descr="C:\Users\%D0%9A%D0%BE%D1%81%D1%82%D1%80%D0%B8%D1%86%D0%BA%D0%B0%D1%8F%D0%95%D0%92\Desktop\i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17562</TotalTime>
  <Words>3925</Words>
  <Application>Microsoft Office PowerPoint</Application>
  <PresentationFormat>Экран (4:3)</PresentationFormat>
  <Paragraphs>987</Paragraphs>
  <Slides>58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59" baseType="lpstr">
      <vt:lpstr>Оформление по умолчанию</vt:lpstr>
      <vt:lpstr>Слайд 1</vt:lpstr>
      <vt:lpstr>Слайд 2</vt:lpstr>
      <vt:lpstr>Слайд 3</vt:lpstr>
      <vt:lpstr>Слайд 4</vt:lpstr>
      <vt:lpstr>Слайд 5</vt:lpstr>
      <vt:lpstr>Слайд 6</vt:lpstr>
      <vt:lpstr>Гражданин в бюджетном процессе: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Безвозмездные поступления</vt:lpstr>
      <vt:lpstr>Слайд 28</vt:lpstr>
      <vt:lpstr>Слайд 29</vt:lpstr>
      <vt:lpstr>Слайд 30</vt:lpstr>
      <vt:lpstr>Гражданин в бюджетном процессе:</vt:lpstr>
      <vt:lpstr>Слайд 32</vt:lpstr>
      <vt:lpstr>Слайд 33</vt:lpstr>
      <vt:lpstr>Слайд 34</vt:lpstr>
      <vt:lpstr>Слайд 35</vt:lpstr>
      <vt:lpstr>Слайд 36</vt:lpstr>
      <vt:lpstr>ОБЪЕМ ДОХОДОВ БЮДЖЕТА КУРСКОГО МУНИЦИПАЛЬНОГО РАЙОНА</vt:lpstr>
      <vt:lpstr>Слайд 38</vt:lpstr>
      <vt:lpstr>Слайд 39</vt:lpstr>
      <vt:lpstr>Слайд 40</vt:lpstr>
      <vt:lpstr>Слайд 41</vt:lpstr>
      <vt:lpstr>БЕЗВОЗМЕЗДНЫЕ   ПОСТУПЛЕНИЯ  В  БЮДЖЕТ  КУРСКОГО МУНИЦИПАЛЬНОГО  РАЙОНА </vt:lpstr>
      <vt:lpstr>Слайд 43</vt:lpstr>
      <vt:lpstr>Слайд 44</vt:lpstr>
      <vt:lpstr>Слайд 45</vt:lpstr>
      <vt:lpstr>Слайд 46</vt:lpstr>
      <vt:lpstr>Основные подходы при формировании бюджетных ассигнований на 2019 год и плановый период 2020 и 2021 годов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КострицкаяЕВ</cp:lastModifiedBy>
  <cp:revision>1311</cp:revision>
  <dcterms:created xsi:type="dcterms:W3CDTF">2012-04-17T17:49:34Z</dcterms:created>
  <dcterms:modified xsi:type="dcterms:W3CDTF">2018-12-03T13:19:04Z</dcterms:modified>
</cp:coreProperties>
</file>